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57" r:id="rId2"/>
    <p:sldId id="269" r:id="rId3"/>
    <p:sldId id="270" r:id="rId4"/>
    <p:sldId id="271" r:id="rId5"/>
    <p:sldId id="264" r:id="rId6"/>
    <p:sldId id="258" r:id="rId7"/>
  </p:sldIdLst>
  <p:sldSz cx="12192000" cy="6858000"/>
  <p:notesSz cx="7102475" cy="9388475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79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onie Blum" userId="0fe05ce5a3b8ef5c" providerId="Windows Live" clId="Web-{87AB9B83-66AC-4A92-B368-39482D024B8B}"/>
    <pc:docChg chg="modSld">
      <pc:chgData name="Leonie Blum" userId="0fe05ce5a3b8ef5c" providerId="Windows Live" clId="Web-{87AB9B83-66AC-4A92-B368-39482D024B8B}" dt="2021-05-18T09:15:23.503" v="162" actId="20577"/>
      <pc:docMkLst>
        <pc:docMk/>
      </pc:docMkLst>
      <pc:sldChg chg="addSp modSp">
        <pc:chgData name="Leonie Blum" userId="0fe05ce5a3b8ef5c" providerId="Windows Live" clId="Web-{87AB9B83-66AC-4A92-B368-39482D024B8B}" dt="2021-05-18T09:10:52.659" v="155" actId="20577"/>
        <pc:sldMkLst>
          <pc:docMk/>
          <pc:sldMk cId="923092658" sldId="256"/>
        </pc:sldMkLst>
        <pc:spChg chg="add mod">
          <ac:chgData name="Leonie Blum" userId="0fe05ce5a3b8ef5c" providerId="Windows Live" clId="Web-{87AB9B83-66AC-4A92-B368-39482D024B8B}" dt="2021-05-18T09:09:38.779" v="143" actId="1076"/>
          <ac:spMkLst>
            <pc:docMk/>
            <pc:sldMk cId="923092658" sldId="256"/>
            <ac:spMk id="3" creationId="{8DF29B61-8FDA-4C96-9087-F31D51E40380}"/>
          </ac:spMkLst>
        </pc:spChg>
        <pc:spChg chg="mod">
          <ac:chgData name="Leonie Blum" userId="0fe05ce5a3b8ef5c" providerId="Windows Live" clId="Web-{87AB9B83-66AC-4A92-B368-39482D024B8B}" dt="2021-05-18T09:10:52.659" v="155" actId="20577"/>
          <ac:spMkLst>
            <pc:docMk/>
            <pc:sldMk cId="923092658" sldId="256"/>
            <ac:spMk id="42" creationId="{3F934D5F-50D8-4474-B562-DF3FA4025E70}"/>
          </ac:spMkLst>
        </pc:spChg>
        <pc:picChg chg="mod">
          <ac:chgData name="Leonie Blum" userId="0fe05ce5a3b8ef5c" providerId="Windows Live" clId="Web-{87AB9B83-66AC-4A92-B368-39482D024B8B}" dt="2021-05-18T09:09:33.857" v="142" actId="1076"/>
          <ac:picMkLst>
            <pc:docMk/>
            <pc:sldMk cId="923092658" sldId="256"/>
            <ac:picMk id="15" creationId="{1F71A4FD-BF3C-439E-97D0-AD7ADFEE389B}"/>
          </ac:picMkLst>
        </pc:picChg>
      </pc:sldChg>
      <pc:sldChg chg="modSp">
        <pc:chgData name="Leonie Blum" userId="0fe05ce5a3b8ef5c" providerId="Windows Live" clId="Web-{87AB9B83-66AC-4A92-B368-39482D024B8B}" dt="2021-05-18T09:13:03.916" v="157" actId="20577"/>
        <pc:sldMkLst>
          <pc:docMk/>
          <pc:sldMk cId="1903498748" sldId="264"/>
        </pc:sldMkLst>
        <pc:spChg chg="mod">
          <ac:chgData name="Leonie Blum" userId="0fe05ce5a3b8ef5c" providerId="Windows Live" clId="Web-{87AB9B83-66AC-4A92-B368-39482D024B8B}" dt="2021-05-18T09:13:03.916" v="157" actId="20577"/>
          <ac:spMkLst>
            <pc:docMk/>
            <pc:sldMk cId="1903498748" sldId="264"/>
            <ac:spMk id="8" creationId="{F2CFD098-4468-AE4D-AED9-FDAAF3361D4E}"/>
          </ac:spMkLst>
        </pc:spChg>
      </pc:sldChg>
      <pc:sldChg chg="modSp">
        <pc:chgData name="Leonie Blum" userId="0fe05ce5a3b8ef5c" providerId="Windows Live" clId="Web-{87AB9B83-66AC-4A92-B368-39482D024B8B}" dt="2021-05-18T08:47:16.778" v="27" actId="20577"/>
        <pc:sldMkLst>
          <pc:docMk/>
          <pc:sldMk cId="3206286563" sldId="265"/>
        </pc:sldMkLst>
        <pc:spChg chg="mod">
          <ac:chgData name="Leonie Blum" userId="0fe05ce5a3b8ef5c" providerId="Windows Live" clId="Web-{87AB9B83-66AC-4A92-B368-39482D024B8B}" dt="2021-05-18T08:47:16.778" v="27" actId="20577"/>
          <ac:spMkLst>
            <pc:docMk/>
            <pc:sldMk cId="3206286563" sldId="265"/>
            <ac:spMk id="13" creationId="{C879D979-8760-4086-A076-8922660BFB46}"/>
          </ac:spMkLst>
        </pc:spChg>
      </pc:sldChg>
      <pc:sldChg chg="addSp modSp">
        <pc:chgData name="Leonie Blum" userId="0fe05ce5a3b8ef5c" providerId="Windows Live" clId="Web-{87AB9B83-66AC-4A92-B368-39482D024B8B}" dt="2021-05-18T08:56:15.872" v="51" actId="1076"/>
        <pc:sldMkLst>
          <pc:docMk/>
          <pc:sldMk cId="245553637" sldId="269"/>
        </pc:sldMkLst>
        <pc:picChg chg="add mod">
          <ac:chgData name="Leonie Blum" userId="0fe05ce5a3b8ef5c" providerId="Windows Live" clId="Web-{87AB9B83-66AC-4A92-B368-39482D024B8B}" dt="2021-05-18T08:56:15.872" v="51" actId="1076"/>
          <ac:picMkLst>
            <pc:docMk/>
            <pc:sldMk cId="245553637" sldId="269"/>
            <ac:picMk id="14" creationId="{8B952518-427B-47C7-AD2C-5DF93332F0F5}"/>
          </ac:picMkLst>
        </pc:picChg>
      </pc:sldChg>
      <pc:sldChg chg="addSp delSp modSp">
        <pc:chgData name="Leonie Blum" userId="0fe05ce5a3b8ef5c" providerId="Windows Live" clId="Web-{87AB9B83-66AC-4A92-B368-39482D024B8B}" dt="2021-05-18T09:15:23.503" v="162" actId="20577"/>
        <pc:sldMkLst>
          <pc:docMk/>
          <pc:sldMk cId="1670493753" sldId="270"/>
        </pc:sldMkLst>
        <pc:spChg chg="mod">
          <ac:chgData name="Leonie Blum" userId="0fe05ce5a3b8ef5c" providerId="Windows Live" clId="Web-{87AB9B83-66AC-4A92-B368-39482D024B8B}" dt="2021-05-18T09:15:23.503" v="162" actId="20577"/>
          <ac:spMkLst>
            <pc:docMk/>
            <pc:sldMk cId="1670493753" sldId="270"/>
            <ac:spMk id="42" creationId="{3F934D5F-50D8-4474-B562-DF3FA4025E70}"/>
          </ac:spMkLst>
        </pc:spChg>
        <pc:cxnChg chg="add del">
          <ac:chgData name="Leonie Blum" userId="0fe05ce5a3b8ef5c" providerId="Windows Live" clId="Web-{87AB9B83-66AC-4A92-B368-39482D024B8B}" dt="2021-05-18T09:15:08.268" v="159"/>
          <ac:cxnSpMkLst>
            <pc:docMk/>
            <pc:sldMk cId="1670493753" sldId="270"/>
            <ac:cxnSpMk id="44" creationId="{D03DF63D-8E00-4EA7-A23D-D245A70B1825}"/>
          </ac:cxnSpMkLst>
        </pc:cxnChg>
      </pc:sldChg>
    </pc:docChg>
  </pc:docChgLst>
  <pc:docChgLst>
    <pc:chgData name="Sebastian Braun" userId="e1610f528f931118" providerId="Windows Live" clId="Web-{C345B728-E6F6-49F1-948D-3E749D312668}"/>
    <pc:docChg chg="modSld">
      <pc:chgData name="Sebastian Braun" userId="e1610f528f931118" providerId="Windows Live" clId="Web-{C345B728-E6F6-49F1-948D-3E749D312668}" dt="2021-05-17T21:28:22.565" v="27" actId="1076"/>
      <pc:docMkLst>
        <pc:docMk/>
      </pc:docMkLst>
      <pc:sldChg chg="addSp modSp">
        <pc:chgData name="Sebastian Braun" userId="e1610f528f931118" providerId="Windows Live" clId="Web-{C345B728-E6F6-49F1-948D-3E749D312668}" dt="2021-05-17T21:28:22.565" v="27" actId="1076"/>
        <pc:sldMkLst>
          <pc:docMk/>
          <pc:sldMk cId="755710382" sldId="257"/>
        </pc:sldMkLst>
        <pc:spChg chg="add mod">
          <ac:chgData name="Sebastian Braun" userId="e1610f528f931118" providerId="Windows Live" clId="Web-{C345B728-E6F6-49F1-948D-3E749D312668}" dt="2021-05-17T21:28:22.565" v="27" actId="1076"/>
          <ac:spMkLst>
            <pc:docMk/>
            <pc:sldMk cId="755710382" sldId="257"/>
            <ac:spMk id="2" creationId="{A67EA19A-C908-4E5A-A22D-617B9DC33DAF}"/>
          </ac:spMkLst>
        </pc:spChg>
      </pc:sldChg>
    </pc:docChg>
  </pc:docChgLst>
  <pc:docChgLst>
    <pc:chgData name="Lena Mündel" userId="147c7959c6fcdb42" providerId="Windows Live" clId="Web-{5802D53F-E3C2-4750-B85A-AF8712990A9B}"/>
    <pc:docChg chg="modSld">
      <pc:chgData name="Lena Mündel" userId="147c7959c6fcdb42" providerId="Windows Live" clId="Web-{5802D53F-E3C2-4750-B85A-AF8712990A9B}" dt="2021-06-05T17:38:59.252" v="9" actId="14100"/>
      <pc:docMkLst>
        <pc:docMk/>
      </pc:docMkLst>
      <pc:sldChg chg="modSp">
        <pc:chgData name="Lena Mündel" userId="147c7959c6fcdb42" providerId="Windows Live" clId="Web-{5802D53F-E3C2-4750-B85A-AF8712990A9B}" dt="2021-06-05T17:38:59.252" v="9" actId="14100"/>
        <pc:sldMkLst>
          <pc:docMk/>
          <pc:sldMk cId="2066224238" sldId="259"/>
        </pc:sldMkLst>
        <pc:spChg chg="mod">
          <ac:chgData name="Lena Mündel" userId="147c7959c6fcdb42" providerId="Windows Live" clId="Web-{5802D53F-E3C2-4750-B85A-AF8712990A9B}" dt="2021-06-05T17:38:35.392" v="1" actId="1076"/>
          <ac:spMkLst>
            <pc:docMk/>
            <pc:sldMk cId="2066224238" sldId="259"/>
            <ac:spMk id="5" creationId="{79834C86-B77C-445B-88B0-50889DF62A71}"/>
          </ac:spMkLst>
        </pc:spChg>
        <pc:spChg chg="mod">
          <ac:chgData name="Lena Mündel" userId="147c7959c6fcdb42" providerId="Windows Live" clId="Web-{5802D53F-E3C2-4750-B85A-AF8712990A9B}" dt="2021-06-05T17:38:35.392" v="2" actId="1076"/>
          <ac:spMkLst>
            <pc:docMk/>
            <pc:sldMk cId="2066224238" sldId="259"/>
            <ac:spMk id="6" creationId="{686FB27B-3EF8-4597-9545-601B883EA9F4}"/>
          </ac:spMkLst>
        </pc:spChg>
        <pc:spChg chg="mod">
          <ac:chgData name="Lena Mündel" userId="147c7959c6fcdb42" providerId="Windows Live" clId="Web-{5802D53F-E3C2-4750-B85A-AF8712990A9B}" dt="2021-06-05T17:38:53.049" v="7" actId="14100"/>
          <ac:spMkLst>
            <pc:docMk/>
            <pc:sldMk cId="2066224238" sldId="259"/>
            <ac:spMk id="7" creationId="{658FD92A-C2B0-4E5C-ADCE-D545C8577E8A}"/>
          </ac:spMkLst>
        </pc:spChg>
        <pc:spChg chg="mod">
          <ac:chgData name="Lena Mündel" userId="147c7959c6fcdb42" providerId="Windows Live" clId="Web-{5802D53F-E3C2-4750-B85A-AF8712990A9B}" dt="2021-06-05T17:38:59.252" v="9" actId="14100"/>
          <ac:spMkLst>
            <pc:docMk/>
            <pc:sldMk cId="2066224238" sldId="259"/>
            <ac:spMk id="10" creationId="{C9A9C7E1-0872-471E-87F0-9F5F76233B4D}"/>
          </ac:spMkLst>
        </pc:spChg>
      </pc:sldChg>
    </pc:docChg>
  </pc:docChgLst>
  <pc:docChgLst>
    <pc:chgData name="Sebastian Braun" userId="e1610f528f931118" providerId="LiveId" clId="{3D2F2623-EB8D-4B31-917E-20787689C35C}"/>
    <pc:docChg chg="undo custSel addSld modSld sldOrd">
      <pc:chgData name="Sebastian Braun" userId="e1610f528f931118" providerId="LiveId" clId="{3D2F2623-EB8D-4B31-917E-20787689C35C}" dt="2021-05-18T09:59:55.729" v="1766" actId="14100"/>
      <pc:docMkLst>
        <pc:docMk/>
      </pc:docMkLst>
      <pc:sldChg chg="addSp delSp modSp mod">
        <pc:chgData name="Sebastian Braun" userId="e1610f528f931118" providerId="LiveId" clId="{3D2F2623-EB8D-4B31-917E-20787689C35C}" dt="2021-05-18T09:11:20.596" v="1680" actId="20577"/>
        <pc:sldMkLst>
          <pc:docMk/>
          <pc:sldMk cId="923092658" sldId="256"/>
        </pc:sldMkLst>
        <pc:spChg chg="mod">
          <ac:chgData name="Sebastian Braun" userId="e1610f528f931118" providerId="LiveId" clId="{3D2F2623-EB8D-4B31-917E-20787689C35C}" dt="2021-05-15T12:05:05.761" v="230" actId="20577"/>
          <ac:spMkLst>
            <pc:docMk/>
            <pc:sldMk cId="923092658" sldId="256"/>
            <ac:spMk id="2" creationId="{C389C1A7-750C-1344-83F0-7F0496275F29}"/>
          </ac:spMkLst>
        </pc:spChg>
        <pc:spChg chg="mod">
          <ac:chgData name="Sebastian Braun" userId="e1610f528f931118" providerId="LiveId" clId="{3D2F2623-EB8D-4B31-917E-20787689C35C}" dt="2021-05-15T12:04:49.422" v="208" actId="1076"/>
          <ac:spMkLst>
            <pc:docMk/>
            <pc:sldMk cId="923092658" sldId="256"/>
            <ac:spMk id="5" creationId="{D471CF75-E2E9-3A4E-A74E-675C8AD41526}"/>
          </ac:spMkLst>
        </pc:spChg>
        <pc:spChg chg="mod">
          <ac:chgData name="Sebastian Braun" userId="e1610f528f931118" providerId="LiveId" clId="{3D2F2623-EB8D-4B31-917E-20787689C35C}" dt="2021-05-15T12:04:49.422" v="208" actId="1076"/>
          <ac:spMkLst>
            <pc:docMk/>
            <pc:sldMk cId="923092658" sldId="256"/>
            <ac:spMk id="6" creationId="{C3D27218-21DA-CB4F-88F9-4DDA75F6FAEE}"/>
          </ac:spMkLst>
        </pc:spChg>
        <pc:spChg chg="del mod">
          <ac:chgData name="Sebastian Braun" userId="e1610f528f931118" providerId="LiveId" clId="{3D2F2623-EB8D-4B31-917E-20787689C35C}" dt="2021-05-18T08:46:08.057" v="1546" actId="478"/>
          <ac:spMkLst>
            <pc:docMk/>
            <pc:sldMk cId="923092658" sldId="256"/>
            <ac:spMk id="7" creationId="{D30051DB-49D3-E645-8630-1E580B84A2D5}"/>
          </ac:spMkLst>
        </pc:spChg>
        <pc:spChg chg="mod">
          <ac:chgData name="Sebastian Braun" userId="e1610f528f931118" providerId="LiveId" clId="{3D2F2623-EB8D-4B31-917E-20787689C35C}" dt="2021-05-15T12:04:49.422" v="208" actId="1076"/>
          <ac:spMkLst>
            <pc:docMk/>
            <pc:sldMk cId="923092658" sldId="256"/>
            <ac:spMk id="8" creationId="{51DD5086-322A-D14F-B6CA-18384F81687F}"/>
          </ac:spMkLst>
        </pc:spChg>
        <pc:spChg chg="mod">
          <ac:chgData name="Sebastian Braun" userId="e1610f528f931118" providerId="LiveId" clId="{3D2F2623-EB8D-4B31-917E-20787689C35C}" dt="2021-05-18T08:53:46.940" v="1593" actId="20577"/>
          <ac:spMkLst>
            <pc:docMk/>
            <pc:sldMk cId="923092658" sldId="256"/>
            <ac:spMk id="9" creationId="{BBBD88FA-F98C-0946-96F2-8286680CD703}"/>
          </ac:spMkLst>
        </pc:spChg>
        <pc:spChg chg="del mod">
          <ac:chgData name="Sebastian Braun" userId="e1610f528f931118" providerId="LiveId" clId="{3D2F2623-EB8D-4B31-917E-20787689C35C}" dt="2021-05-18T08:46:08.057" v="1546" actId="478"/>
          <ac:spMkLst>
            <pc:docMk/>
            <pc:sldMk cId="923092658" sldId="256"/>
            <ac:spMk id="10" creationId="{B6913845-CBFD-504A-8AE2-B1CCA0586C24}"/>
          </ac:spMkLst>
        </pc:spChg>
        <pc:spChg chg="add del mod">
          <ac:chgData name="Sebastian Braun" userId="e1610f528f931118" providerId="LiveId" clId="{3D2F2623-EB8D-4B31-917E-20787689C35C}" dt="2021-05-18T08:54:02.723" v="1594" actId="21"/>
          <ac:spMkLst>
            <pc:docMk/>
            <pc:sldMk cId="923092658" sldId="256"/>
            <ac:spMk id="37" creationId="{007DABBB-F466-4E3F-828E-36E83EDD719E}"/>
          </ac:spMkLst>
        </pc:spChg>
        <pc:spChg chg="add mod">
          <ac:chgData name="Sebastian Braun" userId="e1610f528f931118" providerId="LiveId" clId="{3D2F2623-EB8D-4B31-917E-20787689C35C}" dt="2021-05-18T08:55:06.998" v="1601" actId="1076"/>
          <ac:spMkLst>
            <pc:docMk/>
            <pc:sldMk cId="923092658" sldId="256"/>
            <ac:spMk id="41" creationId="{490874DD-DD9A-4D3E-97B6-7543C353CE44}"/>
          </ac:spMkLst>
        </pc:spChg>
        <pc:spChg chg="add mod">
          <ac:chgData name="Sebastian Braun" userId="e1610f528f931118" providerId="LiveId" clId="{3D2F2623-EB8D-4B31-917E-20787689C35C}" dt="2021-05-18T09:11:20.596" v="1680" actId="20577"/>
          <ac:spMkLst>
            <pc:docMk/>
            <pc:sldMk cId="923092658" sldId="256"/>
            <ac:spMk id="42" creationId="{3F934D5F-50D8-4474-B562-DF3FA4025E70}"/>
          </ac:spMkLst>
        </pc:spChg>
        <pc:spChg chg="add mod">
          <ac:chgData name="Sebastian Braun" userId="e1610f528f931118" providerId="LiveId" clId="{3D2F2623-EB8D-4B31-917E-20787689C35C}" dt="2021-05-18T08:55:06.998" v="1601" actId="1076"/>
          <ac:spMkLst>
            <pc:docMk/>
            <pc:sldMk cId="923092658" sldId="256"/>
            <ac:spMk id="43" creationId="{7A4D05A6-B9DD-457B-B540-D3FB1B2593E8}"/>
          </ac:spMkLst>
        </pc:spChg>
        <pc:spChg chg="add mod">
          <ac:chgData name="Sebastian Braun" userId="e1610f528f931118" providerId="LiveId" clId="{3D2F2623-EB8D-4B31-917E-20787689C35C}" dt="2021-05-18T08:55:06.998" v="1601" actId="1076"/>
          <ac:spMkLst>
            <pc:docMk/>
            <pc:sldMk cId="923092658" sldId="256"/>
            <ac:spMk id="46" creationId="{989B3F85-DEA4-4189-8B3E-9921F8A1EE88}"/>
          </ac:spMkLst>
        </pc:spChg>
        <pc:grpChg chg="del">
          <ac:chgData name="Sebastian Braun" userId="e1610f528f931118" providerId="LiveId" clId="{3D2F2623-EB8D-4B31-917E-20787689C35C}" dt="2021-05-18T08:46:08.057" v="1546" actId="478"/>
          <ac:grpSpMkLst>
            <pc:docMk/>
            <pc:sldMk cId="923092658" sldId="256"/>
            <ac:grpSpMk id="34" creationId="{988AF354-94BC-F947-9997-3C0FE19F4D0D}"/>
          </ac:grpSpMkLst>
        </pc:grpChg>
        <pc:picChg chg="del">
          <ac:chgData name="Sebastian Braun" userId="e1610f528f931118" providerId="LiveId" clId="{3D2F2623-EB8D-4B31-917E-20787689C35C}" dt="2021-05-18T08:46:08.057" v="1546" actId="478"/>
          <ac:picMkLst>
            <pc:docMk/>
            <pc:sldMk cId="923092658" sldId="256"/>
            <ac:picMk id="13" creationId="{FED82A85-5E2F-468A-A68F-6F25A02D300D}"/>
          </ac:picMkLst>
        </pc:picChg>
        <pc:picChg chg="add mod">
          <ac:chgData name="Sebastian Braun" userId="e1610f528f931118" providerId="LiveId" clId="{3D2F2623-EB8D-4B31-917E-20787689C35C}" dt="2021-05-18T08:55:06.998" v="1601" actId="1076"/>
          <ac:picMkLst>
            <pc:docMk/>
            <pc:sldMk cId="923092658" sldId="256"/>
            <ac:picMk id="45" creationId="{6D0BC859-6D03-4405-9CBF-2D1E681B0C06}"/>
          </ac:picMkLst>
        </pc:picChg>
        <pc:cxnChg chg="del">
          <ac:chgData name="Sebastian Braun" userId="e1610f528f931118" providerId="LiveId" clId="{3D2F2623-EB8D-4B31-917E-20787689C35C}" dt="2021-05-18T08:46:08.057" v="1546" actId="478"/>
          <ac:cxnSpMkLst>
            <pc:docMk/>
            <pc:sldMk cId="923092658" sldId="256"/>
            <ac:cxnSpMk id="40" creationId="{7C684911-6FAB-8E4A-A213-6C65B7CE507D}"/>
          </ac:cxnSpMkLst>
        </pc:cxnChg>
        <pc:cxnChg chg="add mod">
          <ac:chgData name="Sebastian Braun" userId="e1610f528f931118" providerId="LiveId" clId="{3D2F2623-EB8D-4B31-917E-20787689C35C}" dt="2021-05-18T08:55:06.998" v="1601" actId="1076"/>
          <ac:cxnSpMkLst>
            <pc:docMk/>
            <pc:sldMk cId="923092658" sldId="256"/>
            <ac:cxnSpMk id="44" creationId="{D03DF63D-8E00-4EA7-A23D-D245A70B1825}"/>
          </ac:cxnSpMkLst>
        </pc:cxnChg>
      </pc:sldChg>
      <pc:sldChg chg="modSp new mod">
        <pc:chgData name="Sebastian Braun" userId="e1610f528f931118" providerId="LiveId" clId="{3D2F2623-EB8D-4B31-917E-20787689C35C}" dt="2021-05-15T12:05:01.322" v="223" actId="20577"/>
        <pc:sldMkLst>
          <pc:docMk/>
          <pc:sldMk cId="1694523067" sldId="258"/>
        </pc:sldMkLst>
        <pc:spChg chg="mod">
          <ac:chgData name="Sebastian Braun" userId="e1610f528f931118" providerId="LiveId" clId="{3D2F2623-EB8D-4B31-917E-20787689C35C}" dt="2021-05-15T12:05:01.322" v="223" actId="20577"/>
          <ac:spMkLst>
            <pc:docMk/>
            <pc:sldMk cId="1694523067" sldId="258"/>
            <ac:spMk id="2" creationId="{3B4955D3-A7AC-4EDD-AB82-588089BC2B14}"/>
          </ac:spMkLst>
        </pc:spChg>
      </pc:sldChg>
      <pc:sldChg chg="addSp modSp new mod">
        <pc:chgData name="Sebastian Braun" userId="e1610f528f931118" providerId="LiveId" clId="{3D2F2623-EB8D-4B31-917E-20787689C35C}" dt="2021-05-15T12:28:26.093" v="520" actId="21"/>
        <pc:sldMkLst>
          <pc:docMk/>
          <pc:sldMk cId="2066224238" sldId="259"/>
        </pc:sldMkLst>
        <pc:spChg chg="add mod">
          <ac:chgData name="Sebastian Braun" userId="e1610f528f931118" providerId="LiveId" clId="{3D2F2623-EB8D-4B31-917E-20787689C35C}" dt="2021-05-15T12:26:45.579" v="505" actId="20577"/>
          <ac:spMkLst>
            <pc:docMk/>
            <pc:sldMk cId="2066224238" sldId="259"/>
            <ac:spMk id="5" creationId="{79834C86-B77C-445B-88B0-50889DF62A71}"/>
          </ac:spMkLst>
        </pc:spChg>
        <pc:spChg chg="add mod">
          <ac:chgData name="Sebastian Braun" userId="e1610f528f931118" providerId="LiveId" clId="{3D2F2623-EB8D-4B31-917E-20787689C35C}" dt="2021-05-15T12:27:55.105" v="517" actId="408"/>
          <ac:spMkLst>
            <pc:docMk/>
            <pc:sldMk cId="2066224238" sldId="259"/>
            <ac:spMk id="6" creationId="{686FB27B-3EF8-4597-9545-601B883EA9F4}"/>
          </ac:spMkLst>
        </pc:spChg>
        <pc:spChg chg="add mod">
          <ac:chgData name="Sebastian Braun" userId="e1610f528f931118" providerId="LiveId" clId="{3D2F2623-EB8D-4B31-917E-20787689C35C}" dt="2021-05-15T12:26:30.993" v="488"/>
          <ac:spMkLst>
            <pc:docMk/>
            <pc:sldMk cId="2066224238" sldId="259"/>
            <ac:spMk id="7" creationId="{658FD92A-C2B0-4E5C-ADCE-D545C8577E8A}"/>
          </ac:spMkLst>
        </pc:spChg>
        <pc:spChg chg="add mod">
          <ac:chgData name="Sebastian Braun" userId="e1610f528f931118" providerId="LiveId" clId="{3D2F2623-EB8D-4B31-917E-20787689C35C}" dt="2021-05-15T12:28:00.267" v="518" actId="408"/>
          <ac:spMkLst>
            <pc:docMk/>
            <pc:sldMk cId="2066224238" sldId="259"/>
            <ac:spMk id="8" creationId="{E7C44E60-897E-42AB-99CA-E6815F9C67E2}"/>
          </ac:spMkLst>
        </pc:spChg>
        <pc:spChg chg="add mod">
          <ac:chgData name="Sebastian Braun" userId="e1610f528f931118" providerId="LiveId" clId="{3D2F2623-EB8D-4B31-917E-20787689C35C}" dt="2021-05-15T12:28:26.093" v="520" actId="21"/>
          <ac:spMkLst>
            <pc:docMk/>
            <pc:sldMk cId="2066224238" sldId="259"/>
            <ac:spMk id="9" creationId="{62F4D0FE-835D-404C-BFDE-32B6DAD69B51}"/>
          </ac:spMkLst>
        </pc:spChg>
        <pc:spChg chg="add mod">
          <ac:chgData name="Sebastian Braun" userId="e1610f528f931118" providerId="LiveId" clId="{3D2F2623-EB8D-4B31-917E-20787689C35C}" dt="2021-05-15T12:27:22.244" v="508" actId="14100"/>
          <ac:spMkLst>
            <pc:docMk/>
            <pc:sldMk cId="2066224238" sldId="259"/>
            <ac:spMk id="10" creationId="{C9A9C7E1-0872-471E-87F0-9F5F76233B4D}"/>
          </ac:spMkLst>
        </pc:spChg>
      </pc:sldChg>
      <pc:sldChg chg="addSp delSp modSp new mod">
        <pc:chgData name="Sebastian Braun" userId="e1610f528f931118" providerId="LiveId" clId="{3D2F2623-EB8D-4B31-917E-20787689C35C}" dt="2021-05-15T12:37:58.892" v="960" actId="113"/>
        <pc:sldMkLst>
          <pc:docMk/>
          <pc:sldMk cId="595371731" sldId="260"/>
        </pc:sldMkLst>
        <pc:spChg chg="add mod">
          <ac:chgData name="Sebastian Braun" userId="e1610f528f931118" providerId="LiveId" clId="{3D2F2623-EB8D-4B31-917E-20787689C35C}" dt="2021-05-15T12:26:04.266" v="479" actId="20577"/>
          <ac:spMkLst>
            <pc:docMk/>
            <pc:sldMk cId="595371731" sldId="260"/>
            <ac:spMk id="5" creationId="{9F2F2837-6126-4582-B6AC-0D4D1F616134}"/>
          </ac:spMkLst>
        </pc:spChg>
        <pc:spChg chg="add mod">
          <ac:chgData name="Sebastian Braun" userId="e1610f528f931118" providerId="LiveId" clId="{3D2F2623-EB8D-4B31-917E-20787689C35C}" dt="2021-05-15T12:37:38.513" v="932" actId="1076"/>
          <ac:spMkLst>
            <pc:docMk/>
            <pc:sldMk cId="595371731" sldId="260"/>
            <ac:spMk id="6" creationId="{902B4DAC-EE88-4FAF-81FE-623F5661D3D9}"/>
          </ac:spMkLst>
        </pc:spChg>
        <pc:spChg chg="add mod">
          <ac:chgData name="Sebastian Braun" userId="e1610f528f931118" providerId="LiveId" clId="{3D2F2623-EB8D-4B31-917E-20787689C35C}" dt="2021-05-15T12:37:38.513" v="932" actId="1076"/>
          <ac:spMkLst>
            <pc:docMk/>
            <pc:sldMk cId="595371731" sldId="260"/>
            <ac:spMk id="7" creationId="{AEBEEC9E-36B1-42CB-B536-C8A5399812F7}"/>
          </ac:spMkLst>
        </pc:spChg>
        <pc:spChg chg="add del mod">
          <ac:chgData name="Sebastian Braun" userId="e1610f528f931118" providerId="LiveId" clId="{3D2F2623-EB8D-4B31-917E-20787689C35C}" dt="2021-05-15T12:24:09.378" v="395" actId="21"/>
          <ac:spMkLst>
            <pc:docMk/>
            <pc:sldMk cId="595371731" sldId="260"/>
            <ac:spMk id="8" creationId="{AF729D98-56FC-4B59-B179-16602D81D900}"/>
          </ac:spMkLst>
        </pc:spChg>
        <pc:spChg chg="add mod">
          <ac:chgData name="Sebastian Braun" userId="e1610f528f931118" providerId="LiveId" clId="{3D2F2623-EB8D-4B31-917E-20787689C35C}" dt="2021-05-15T12:37:38.513" v="932" actId="1076"/>
          <ac:spMkLst>
            <pc:docMk/>
            <pc:sldMk cId="595371731" sldId="260"/>
            <ac:spMk id="9" creationId="{02D64CC4-0F2E-4E2D-A705-9BCFDEA8E664}"/>
          </ac:spMkLst>
        </pc:spChg>
        <pc:spChg chg="add mod">
          <ac:chgData name="Sebastian Braun" userId="e1610f528f931118" providerId="LiveId" clId="{3D2F2623-EB8D-4B31-917E-20787689C35C}" dt="2021-05-15T12:37:45.687" v="933" actId="14100"/>
          <ac:spMkLst>
            <pc:docMk/>
            <pc:sldMk cId="595371731" sldId="260"/>
            <ac:spMk id="10" creationId="{753AEB36-4654-435C-B0DC-136BD0FDC4C2}"/>
          </ac:spMkLst>
        </pc:spChg>
        <pc:spChg chg="add mod">
          <ac:chgData name="Sebastian Braun" userId="e1610f528f931118" providerId="LiveId" clId="{3D2F2623-EB8D-4B31-917E-20787689C35C}" dt="2021-05-15T12:37:38.513" v="932" actId="1076"/>
          <ac:spMkLst>
            <pc:docMk/>
            <pc:sldMk cId="595371731" sldId="260"/>
            <ac:spMk id="11" creationId="{15E584CD-1152-4A70-96DF-7B2CC75891B0}"/>
          </ac:spMkLst>
        </pc:spChg>
        <pc:spChg chg="add mod">
          <ac:chgData name="Sebastian Braun" userId="e1610f528f931118" providerId="LiveId" clId="{3D2F2623-EB8D-4B31-917E-20787689C35C}" dt="2021-05-15T12:37:46.873" v="934" actId="1076"/>
          <ac:spMkLst>
            <pc:docMk/>
            <pc:sldMk cId="595371731" sldId="260"/>
            <ac:spMk id="12" creationId="{1EB5FBCC-826A-4C5F-83B8-4724851D49F9}"/>
          </ac:spMkLst>
        </pc:spChg>
        <pc:spChg chg="add mod">
          <ac:chgData name="Sebastian Braun" userId="e1610f528f931118" providerId="LiveId" clId="{3D2F2623-EB8D-4B31-917E-20787689C35C}" dt="2021-05-15T12:37:38.513" v="932" actId="1076"/>
          <ac:spMkLst>
            <pc:docMk/>
            <pc:sldMk cId="595371731" sldId="260"/>
            <ac:spMk id="13" creationId="{9E3674F4-D545-4B3B-83B9-9E708F7CFA06}"/>
          </ac:spMkLst>
        </pc:spChg>
        <pc:spChg chg="add mod">
          <ac:chgData name="Sebastian Braun" userId="e1610f528f931118" providerId="LiveId" clId="{3D2F2623-EB8D-4B31-917E-20787689C35C}" dt="2021-05-15T12:37:38.513" v="932" actId="1076"/>
          <ac:spMkLst>
            <pc:docMk/>
            <pc:sldMk cId="595371731" sldId="260"/>
            <ac:spMk id="14" creationId="{9FE8C0E9-6BE3-4F9E-BB40-80144E856023}"/>
          </ac:spMkLst>
        </pc:spChg>
        <pc:spChg chg="add del mod">
          <ac:chgData name="Sebastian Braun" userId="e1610f528f931118" providerId="LiveId" clId="{3D2F2623-EB8D-4B31-917E-20787689C35C}" dt="2021-05-15T12:34:53.959" v="841" actId="21"/>
          <ac:spMkLst>
            <pc:docMk/>
            <pc:sldMk cId="595371731" sldId="260"/>
            <ac:spMk id="15" creationId="{24F8F562-A086-4BDE-8B4A-31BA248C4E92}"/>
          </ac:spMkLst>
        </pc:spChg>
        <pc:spChg chg="add mod">
          <ac:chgData name="Sebastian Braun" userId="e1610f528f931118" providerId="LiveId" clId="{3D2F2623-EB8D-4B31-917E-20787689C35C}" dt="2021-05-15T12:37:58.892" v="960" actId="113"/>
          <ac:spMkLst>
            <pc:docMk/>
            <pc:sldMk cId="595371731" sldId="260"/>
            <ac:spMk id="16" creationId="{EB4F0322-2A73-4577-A1F1-6CB733D0AC00}"/>
          </ac:spMkLst>
        </pc:spChg>
      </pc:sldChg>
      <pc:sldChg chg="addSp delSp modSp add mod">
        <pc:chgData name="Sebastian Braun" userId="e1610f528f931118" providerId="LiveId" clId="{3D2F2623-EB8D-4B31-917E-20787689C35C}" dt="2021-05-15T12:49:44.177" v="1245" actId="14100"/>
        <pc:sldMkLst>
          <pc:docMk/>
          <pc:sldMk cId="1428157349" sldId="261"/>
        </pc:sldMkLst>
        <pc:spChg chg="mod">
          <ac:chgData name="Sebastian Braun" userId="e1610f528f931118" providerId="LiveId" clId="{3D2F2623-EB8D-4B31-917E-20787689C35C}" dt="2021-05-15T12:26:22.785" v="486" actId="20577"/>
          <ac:spMkLst>
            <pc:docMk/>
            <pc:sldMk cId="1428157349" sldId="261"/>
            <ac:spMk id="5" creationId="{9F2F2837-6126-4582-B6AC-0D4D1F616134}"/>
          </ac:spMkLst>
        </pc:spChg>
        <pc:spChg chg="mod">
          <ac:chgData name="Sebastian Braun" userId="e1610f528f931118" providerId="LiveId" clId="{3D2F2623-EB8D-4B31-917E-20787689C35C}" dt="2021-05-15T12:43:08.689" v="963" actId="1076"/>
          <ac:spMkLst>
            <pc:docMk/>
            <pc:sldMk cId="1428157349" sldId="261"/>
            <ac:spMk id="6" creationId="{902B4DAC-EE88-4FAF-81FE-623F5661D3D9}"/>
          </ac:spMkLst>
        </pc:spChg>
        <pc:spChg chg="mod">
          <ac:chgData name="Sebastian Braun" userId="e1610f528f931118" providerId="LiveId" clId="{3D2F2623-EB8D-4B31-917E-20787689C35C}" dt="2021-05-15T12:43:29.443" v="965" actId="1076"/>
          <ac:spMkLst>
            <pc:docMk/>
            <pc:sldMk cId="1428157349" sldId="261"/>
            <ac:spMk id="7" creationId="{AEBEEC9E-36B1-42CB-B536-C8A5399812F7}"/>
          </ac:spMkLst>
        </pc:spChg>
        <pc:spChg chg="mod">
          <ac:chgData name="Sebastian Braun" userId="e1610f528f931118" providerId="LiveId" clId="{3D2F2623-EB8D-4B31-917E-20787689C35C}" dt="2021-05-15T12:43:29.443" v="965" actId="1076"/>
          <ac:spMkLst>
            <pc:docMk/>
            <pc:sldMk cId="1428157349" sldId="261"/>
            <ac:spMk id="9" creationId="{02D64CC4-0F2E-4E2D-A705-9BCFDEA8E664}"/>
          </ac:spMkLst>
        </pc:spChg>
        <pc:spChg chg="del mod">
          <ac:chgData name="Sebastian Braun" userId="e1610f528f931118" providerId="LiveId" clId="{3D2F2623-EB8D-4B31-917E-20787689C35C}" dt="2021-05-15T12:47:49.171" v="1222" actId="478"/>
          <ac:spMkLst>
            <pc:docMk/>
            <pc:sldMk cId="1428157349" sldId="261"/>
            <ac:spMk id="10" creationId="{753AEB36-4654-435C-B0DC-136BD0FDC4C2}"/>
          </ac:spMkLst>
        </pc:spChg>
        <pc:spChg chg="mod">
          <ac:chgData name="Sebastian Braun" userId="e1610f528f931118" providerId="LiveId" clId="{3D2F2623-EB8D-4B31-917E-20787689C35C}" dt="2021-05-15T12:43:08.689" v="963" actId="1076"/>
          <ac:spMkLst>
            <pc:docMk/>
            <pc:sldMk cId="1428157349" sldId="261"/>
            <ac:spMk id="11" creationId="{15E584CD-1152-4A70-96DF-7B2CC75891B0}"/>
          </ac:spMkLst>
        </pc:spChg>
        <pc:spChg chg="del mod">
          <ac:chgData name="Sebastian Braun" userId="e1610f528f931118" providerId="LiveId" clId="{3D2F2623-EB8D-4B31-917E-20787689C35C}" dt="2021-05-15T12:47:50.002" v="1223" actId="478"/>
          <ac:spMkLst>
            <pc:docMk/>
            <pc:sldMk cId="1428157349" sldId="261"/>
            <ac:spMk id="12" creationId="{1EB5FBCC-826A-4C5F-83B8-4724851D49F9}"/>
          </ac:spMkLst>
        </pc:spChg>
        <pc:spChg chg="mod">
          <ac:chgData name="Sebastian Braun" userId="e1610f528f931118" providerId="LiveId" clId="{3D2F2623-EB8D-4B31-917E-20787689C35C}" dt="2021-05-15T12:43:29.443" v="965" actId="1076"/>
          <ac:spMkLst>
            <pc:docMk/>
            <pc:sldMk cId="1428157349" sldId="261"/>
            <ac:spMk id="13" creationId="{9E3674F4-D545-4B3B-83B9-9E708F7CFA06}"/>
          </ac:spMkLst>
        </pc:spChg>
        <pc:spChg chg="add mod">
          <ac:chgData name="Sebastian Braun" userId="e1610f528f931118" providerId="LiveId" clId="{3D2F2623-EB8D-4B31-917E-20787689C35C}" dt="2021-05-15T12:49:44.177" v="1245" actId="14100"/>
          <ac:spMkLst>
            <pc:docMk/>
            <pc:sldMk cId="1428157349" sldId="261"/>
            <ac:spMk id="14" creationId="{18EECE3F-41B0-4138-9922-530686E70BDE}"/>
          </ac:spMkLst>
        </pc:spChg>
      </pc:sldChg>
      <pc:sldChg chg="addSp modSp new mod">
        <pc:chgData name="Sebastian Braun" userId="e1610f528f931118" providerId="LiveId" clId="{3D2F2623-EB8D-4B31-917E-20787689C35C}" dt="2021-05-15T12:31:10.834" v="682" actId="20577"/>
        <pc:sldMkLst>
          <pc:docMk/>
          <pc:sldMk cId="3609777096" sldId="262"/>
        </pc:sldMkLst>
        <pc:spChg chg="mod">
          <ac:chgData name="Sebastian Braun" userId="e1610f528f931118" providerId="LiveId" clId="{3D2F2623-EB8D-4B31-917E-20787689C35C}" dt="2021-05-15T12:28:33.195" v="525" actId="20577"/>
          <ac:spMkLst>
            <pc:docMk/>
            <pc:sldMk cId="3609777096" sldId="262"/>
            <ac:spMk id="2" creationId="{EF0BD47B-A01C-430D-BB00-9C6D2538A07D}"/>
          </ac:spMkLst>
        </pc:spChg>
        <pc:spChg chg="add mod">
          <ac:chgData name="Sebastian Braun" userId="e1610f528f931118" providerId="LiveId" clId="{3D2F2623-EB8D-4B31-917E-20787689C35C}" dt="2021-05-15T12:30:05.876" v="547" actId="14100"/>
          <ac:spMkLst>
            <pc:docMk/>
            <pc:sldMk cId="3609777096" sldId="262"/>
            <ac:spMk id="5" creationId="{84F62163-D149-4D82-9308-E5F2380B33A5}"/>
          </ac:spMkLst>
        </pc:spChg>
        <pc:spChg chg="add mod">
          <ac:chgData name="Sebastian Braun" userId="e1610f528f931118" providerId="LiveId" clId="{3D2F2623-EB8D-4B31-917E-20787689C35C}" dt="2021-05-15T12:30:38.210" v="645" actId="20577"/>
          <ac:spMkLst>
            <pc:docMk/>
            <pc:sldMk cId="3609777096" sldId="262"/>
            <ac:spMk id="6" creationId="{46B32DC4-ADA2-475E-A476-4BA4AF2C1403}"/>
          </ac:spMkLst>
        </pc:spChg>
        <pc:spChg chg="add mod">
          <ac:chgData name="Sebastian Braun" userId="e1610f528f931118" providerId="LiveId" clId="{3D2F2623-EB8D-4B31-917E-20787689C35C}" dt="2021-05-15T12:31:01.138" v="659" actId="20577"/>
          <ac:spMkLst>
            <pc:docMk/>
            <pc:sldMk cId="3609777096" sldId="262"/>
            <ac:spMk id="7" creationId="{4FFD920E-4B8F-4BF3-B3CB-DB89600491FE}"/>
          </ac:spMkLst>
        </pc:spChg>
        <pc:spChg chg="add mod">
          <ac:chgData name="Sebastian Braun" userId="e1610f528f931118" providerId="LiveId" clId="{3D2F2623-EB8D-4B31-917E-20787689C35C}" dt="2021-05-15T12:30:53.728" v="654" actId="1076"/>
          <ac:spMkLst>
            <pc:docMk/>
            <pc:sldMk cId="3609777096" sldId="262"/>
            <ac:spMk id="8" creationId="{0D6DD976-993E-4003-A5AA-E6F8B7D43A03}"/>
          </ac:spMkLst>
        </pc:spChg>
        <pc:spChg chg="add mod">
          <ac:chgData name="Sebastian Braun" userId="e1610f528f931118" providerId="LiveId" clId="{3D2F2623-EB8D-4B31-917E-20787689C35C}" dt="2021-05-15T12:30:51.451" v="652" actId="1076"/>
          <ac:spMkLst>
            <pc:docMk/>
            <pc:sldMk cId="3609777096" sldId="262"/>
            <ac:spMk id="9" creationId="{089299A4-EC6F-48E0-A98A-0396CE5BB561}"/>
          </ac:spMkLst>
        </pc:spChg>
        <pc:spChg chg="add mod">
          <ac:chgData name="Sebastian Braun" userId="e1610f528f931118" providerId="LiveId" clId="{3D2F2623-EB8D-4B31-917E-20787689C35C}" dt="2021-05-15T12:31:05.377" v="674" actId="20577"/>
          <ac:spMkLst>
            <pc:docMk/>
            <pc:sldMk cId="3609777096" sldId="262"/>
            <ac:spMk id="10" creationId="{2F9E1D63-C054-4E5F-AC29-86FE37F555F2}"/>
          </ac:spMkLst>
        </pc:spChg>
        <pc:spChg chg="add mod">
          <ac:chgData name="Sebastian Braun" userId="e1610f528f931118" providerId="LiveId" clId="{3D2F2623-EB8D-4B31-917E-20787689C35C}" dt="2021-05-15T12:31:10.834" v="682" actId="20577"/>
          <ac:spMkLst>
            <pc:docMk/>
            <pc:sldMk cId="3609777096" sldId="262"/>
            <ac:spMk id="11" creationId="{78B8FECC-2DF3-4315-B6DB-95FC90E6C222}"/>
          </ac:spMkLst>
        </pc:spChg>
      </pc:sldChg>
      <pc:sldChg chg="addSp delSp modSp new mod">
        <pc:chgData name="Sebastian Braun" userId="e1610f528f931118" providerId="LiveId" clId="{3D2F2623-EB8D-4B31-917E-20787689C35C}" dt="2021-05-15T12:33:24.521" v="826" actId="20577"/>
        <pc:sldMkLst>
          <pc:docMk/>
          <pc:sldMk cId="1620666167" sldId="263"/>
        </pc:sldMkLst>
        <pc:spChg chg="mod">
          <ac:chgData name="Sebastian Braun" userId="e1610f528f931118" providerId="LiveId" clId="{3D2F2623-EB8D-4B31-917E-20787689C35C}" dt="2021-05-15T12:33:24.521" v="826" actId="20577"/>
          <ac:spMkLst>
            <pc:docMk/>
            <pc:sldMk cId="1620666167" sldId="263"/>
            <ac:spMk id="2" creationId="{1833BB39-2C2C-4F5C-A226-C349C2040B58}"/>
          </ac:spMkLst>
        </pc:spChg>
        <pc:spChg chg="add mod">
          <ac:chgData name="Sebastian Braun" userId="e1610f528f931118" providerId="LiveId" clId="{3D2F2623-EB8D-4B31-917E-20787689C35C}" dt="2021-05-15T12:31:37.762" v="689" actId="20577"/>
          <ac:spMkLst>
            <pc:docMk/>
            <pc:sldMk cId="1620666167" sldId="263"/>
            <ac:spMk id="5" creationId="{D21AA8F9-2BA5-41CE-A01A-21B68D803A0E}"/>
          </ac:spMkLst>
        </pc:spChg>
        <pc:spChg chg="add mod">
          <ac:chgData name="Sebastian Braun" userId="e1610f528f931118" providerId="LiveId" clId="{3D2F2623-EB8D-4B31-917E-20787689C35C}" dt="2021-05-15T12:32:27.909" v="744" actId="1076"/>
          <ac:spMkLst>
            <pc:docMk/>
            <pc:sldMk cId="1620666167" sldId="263"/>
            <ac:spMk id="6" creationId="{42DE90B3-03F2-454F-8636-C629E8A63CD3}"/>
          </ac:spMkLst>
        </pc:spChg>
        <pc:spChg chg="add del mod">
          <ac:chgData name="Sebastian Braun" userId="e1610f528f931118" providerId="LiveId" clId="{3D2F2623-EB8D-4B31-917E-20787689C35C}" dt="2021-05-15T12:33:08.937" v="815" actId="478"/>
          <ac:spMkLst>
            <pc:docMk/>
            <pc:sldMk cId="1620666167" sldId="263"/>
            <ac:spMk id="7" creationId="{C7FB83DA-6DC2-4B5C-BA66-A6650874B631}"/>
          </ac:spMkLst>
        </pc:spChg>
        <pc:spChg chg="add del mod">
          <ac:chgData name="Sebastian Braun" userId="e1610f528f931118" providerId="LiveId" clId="{3D2F2623-EB8D-4B31-917E-20787689C35C}" dt="2021-05-15T12:33:08.937" v="815" actId="478"/>
          <ac:spMkLst>
            <pc:docMk/>
            <pc:sldMk cId="1620666167" sldId="263"/>
            <ac:spMk id="8" creationId="{36F436C2-5EA5-4E25-ADF7-B8490375D212}"/>
          </ac:spMkLst>
        </pc:spChg>
        <pc:spChg chg="add mod">
          <ac:chgData name="Sebastian Braun" userId="e1610f528f931118" providerId="LiveId" clId="{3D2F2623-EB8D-4B31-917E-20787689C35C}" dt="2021-05-15T12:31:41.549" v="691" actId="1076"/>
          <ac:spMkLst>
            <pc:docMk/>
            <pc:sldMk cId="1620666167" sldId="263"/>
            <ac:spMk id="9" creationId="{682A89AA-A02D-42EF-B6EB-267ADBA70BEB}"/>
          </ac:spMkLst>
        </pc:spChg>
        <pc:spChg chg="add mod">
          <ac:chgData name="Sebastian Braun" userId="e1610f528f931118" providerId="LiveId" clId="{3D2F2623-EB8D-4B31-917E-20787689C35C}" dt="2021-05-15T12:32:23.426" v="743" actId="20577"/>
          <ac:spMkLst>
            <pc:docMk/>
            <pc:sldMk cId="1620666167" sldId="263"/>
            <ac:spMk id="10" creationId="{A115BAA1-C438-4379-9323-ED2149AD27DF}"/>
          </ac:spMkLst>
        </pc:spChg>
        <pc:spChg chg="add mod">
          <ac:chgData name="Sebastian Braun" userId="e1610f528f931118" providerId="LiveId" clId="{3D2F2623-EB8D-4B31-917E-20787689C35C}" dt="2021-05-15T12:31:42.976" v="692" actId="1076"/>
          <ac:spMkLst>
            <pc:docMk/>
            <pc:sldMk cId="1620666167" sldId="263"/>
            <ac:spMk id="11" creationId="{E400969B-66FB-4EDD-9202-AC60EFC6780A}"/>
          </ac:spMkLst>
        </pc:spChg>
        <pc:spChg chg="add del mod">
          <ac:chgData name="Sebastian Braun" userId="e1610f528f931118" providerId="LiveId" clId="{3D2F2623-EB8D-4B31-917E-20787689C35C}" dt="2021-05-15T12:33:08.937" v="815" actId="478"/>
          <ac:spMkLst>
            <pc:docMk/>
            <pc:sldMk cId="1620666167" sldId="263"/>
            <ac:spMk id="12" creationId="{3898F757-182C-4D34-A171-117BE80E38D9}"/>
          </ac:spMkLst>
        </pc:spChg>
        <pc:spChg chg="add mod">
          <ac:chgData name="Sebastian Braun" userId="e1610f528f931118" providerId="LiveId" clId="{3D2F2623-EB8D-4B31-917E-20787689C35C}" dt="2021-05-15T12:33:15.884" v="822" actId="115"/>
          <ac:spMkLst>
            <pc:docMk/>
            <pc:sldMk cId="1620666167" sldId="263"/>
            <ac:spMk id="13" creationId="{83AEF4BC-3B71-4002-97F6-A64CDF581772}"/>
          </ac:spMkLst>
        </pc:spChg>
      </pc:sldChg>
      <pc:sldChg chg="addSp delSp modSp mod ord">
        <pc:chgData name="Sebastian Braun" userId="e1610f528f931118" providerId="LiveId" clId="{3D2F2623-EB8D-4B31-917E-20787689C35C}" dt="2021-05-18T09:16:04.508" v="1698" actId="20577"/>
        <pc:sldMkLst>
          <pc:docMk/>
          <pc:sldMk cId="1903498748" sldId="264"/>
        </pc:sldMkLst>
        <pc:spChg chg="mod">
          <ac:chgData name="Sebastian Braun" userId="e1610f528f931118" providerId="LiveId" clId="{3D2F2623-EB8D-4B31-917E-20787689C35C}" dt="2021-05-18T08:49:45.292" v="1558" actId="20577"/>
          <ac:spMkLst>
            <pc:docMk/>
            <pc:sldMk cId="1903498748" sldId="264"/>
            <ac:spMk id="2" creationId="{2F5888ED-8FDD-A44E-8B60-2DDE0B577850}"/>
          </ac:spMkLst>
        </pc:spChg>
        <pc:spChg chg="mod">
          <ac:chgData name="Sebastian Braun" userId="e1610f528f931118" providerId="LiveId" clId="{3D2F2623-EB8D-4B31-917E-20787689C35C}" dt="2021-05-18T08:49:34.655" v="1557" actId="20577"/>
          <ac:spMkLst>
            <pc:docMk/>
            <pc:sldMk cId="1903498748" sldId="264"/>
            <ac:spMk id="3" creationId="{5016FBAC-093F-994D-BC70-11A0B3680DC7}"/>
          </ac:spMkLst>
        </pc:spChg>
        <pc:spChg chg="del">
          <ac:chgData name="Sebastian Braun" userId="e1610f528f931118" providerId="LiveId" clId="{3D2F2623-EB8D-4B31-917E-20787689C35C}" dt="2021-05-18T08:48:35.761" v="1552" actId="478"/>
          <ac:spMkLst>
            <pc:docMk/>
            <pc:sldMk cId="1903498748" sldId="264"/>
            <ac:spMk id="5" creationId="{93D469EB-4D12-B348-A165-913092A49E20}"/>
          </ac:spMkLst>
        </pc:spChg>
        <pc:spChg chg="mod">
          <ac:chgData name="Sebastian Braun" userId="e1610f528f931118" providerId="LiveId" clId="{3D2F2623-EB8D-4B31-917E-20787689C35C}" dt="2021-05-18T09:16:04.508" v="1698" actId="20577"/>
          <ac:spMkLst>
            <pc:docMk/>
            <pc:sldMk cId="1903498748" sldId="264"/>
            <ac:spMk id="6" creationId="{CC2E037D-58E5-2D42-AD77-063190A61792}"/>
          </ac:spMkLst>
        </pc:spChg>
        <pc:spChg chg="del">
          <ac:chgData name="Sebastian Braun" userId="e1610f528f931118" providerId="LiveId" clId="{3D2F2623-EB8D-4B31-917E-20787689C35C}" dt="2021-05-18T08:48:35.761" v="1552" actId="478"/>
          <ac:spMkLst>
            <pc:docMk/>
            <pc:sldMk cId="1903498748" sldId="264"/>
            <ac:spMk id="19" creationId="{2AB36E68-45F4-B748-9125-7627CEA8980B}"/>
          </ac:spMkLst>
        </pc:spChg>
        <pc:spChg chg="del">
          <ac:chgData name="Sebastian Braun" userId="e1610f528f931118" providerId="LiveId" clId="{3D2F2623-EB8D-4B31-917E-20787689C35C}" dt="2021-05-18T08:48:35.761" v="1552" actId="478"/>
          <ac:spMkLst>
            <pc:docMk/>
            <pc:sldMk cId="1903498748" sldId="264"/>
            <ac:spMk id="20" creationId="{638E4FC4-69DE-774C-AC6B-A755AE22091B}"/>
          </ac:spMkLst>
        </pc:spChg>
        <pc:spChg chg="del">
          <ac:chgData name="Sebastian Braun" userId="e1610f528f931118" providerId="LiveId" clId="{3D2F2623-EB8D-4B31-917E-20787689C35C}" dt="2021-05-18T08:48:35.761" v="1552" actId="478"/>
          <ac:spMkLst>
            <pc:docMk/>
            <pc:sldMk cId="1903498748" sldId="264"/>
            <ac:spMk id="21" creationId="{5171F6E8-CB9B-9745-B937-D04FA4C117C0}"/>
          </ac:spMkLst>
        </pc:spChg>
        <pc:spChg chg="del">
          <ac:chgData name="Sebastian Braun" userId="e1610f528f931118" providerId="LiveId" clId="{3D2F2623-EB8D-4B31-917E-20787689C35C}" dt="2021-05-18T08:48:35.761" v="1552" actId="478"/>
          <ac:spMkLst>
            <pc:docMk/>
            <pc:sldMk cId="1903498748" sldId="264"/>
            <ac:spMk id="25" creationId="{3AAA2787-3CD5-5E42-9252-F99E04E9669A}"/>
          </ac:spMkLst>
        </pc:spChg>
        <pc:spChg chg="add mod">
          <ac:chgData name="Sebastian Braun" userId="e1610f528f931118" providerId="LiveId" clId="{3D2F2623-EB8D-4B31-917E-20787689C35C}" dt="2021-05-18T08:54:30.177" v="1599" actId="1076"/>
          <ac:spMkLst>
            <pc:docMk/>
            <pc:sldMk cId="1903498748" sldId="264"/>
            <ac:spMk id="26" creationId="{54F32E0C-480F-455E-A608-543823DD00EA}"/>
          </ac:spMkLst>
        </pc:spChg>
        <pc:picChg chg="del">
          <ac:chgData name="Sebastian Braun" userId="e1610f528f931118" providerId="LiveId" clId="{3D2F2623-EB8D-4B31-917E-20787689C35C}" dt="2021-05-18T08:48:35.761" v="1552" actId="478"/>
          <ac:picMkLst>
            <pc:docMk/>
            <pc:sldMk cId="1903498748" sldId="264"/>
            <ac:picMk id="24" creationId="{C4F2A60B-3FFC-744A-859C-109A37EDEB3E}"/>
          </ac:picMkLst>
        </pc:picChg>
        <pc:cxnChg chg="del">
          <ac:chgData name="Sebastian Braun" userId="e1610f528f931118" providerId="LiveId" clId="{3D2F2623-EB8D-4B31-917E-20787689C35C}" dt="2021-05-18T08:48:35.761" v="1552" actId="478"/>
          <ac:cxnSpMkLst>
            <pc:docMk/>
            <pc:sldMk cId="1903498748" sldId="264"/>
            <ac:cxnSpMk id="22" creationId="{9F48E3B3-6996-F54C-828D-3D486AA12675}"/>
          </ac:cxnSpMkLst>
        </pc:cxnChg>
      </pc:sldChg>
      <pc:sldChg chg="addSp modSp new mod ord modShow">
        <pc:chgData name="Sebastian Braun" userId="e1610f528f931118" providerId="LiveId" clId="{3D2F2623-EB8D-4B31-917E-20787689C35C}" dt="2021-05-18T09:09:23.206" v="1655" actId="20577"/>
        <pc:sldMkLst>
          <pc:docMk/>
          <pc:sldMk cId="3206286563" sldId="265"/>
        </pc:sldMkLst>
        <pc:spChg chg="mod">
          <ac:chgData name="Sebastian Braun" userId="e1610f528f931118" providerId="LiveId" clId="{3D2F2623-EB8D-4B31-917E-20787689C35C}" dt="2021-05-18T08:34:11.383" v="1254" actId="20577"/>
          <ac:spMkLst>
            <pc:docMk/>
            <pc:sldMk cId="3206286563" sldId="265"/>
            <ac:spMk id="2" creationId="{A251D07B-366F-4FBC-AD99-896DBDA74BD1}"/>
          </ac:spMkLst>
        </pc:spChg>
        <pc:spChg chg="add mod">
          <ac:chgData name="Sebastian Braun" userId="e1610f528f931118" providerId="LiveId" clId="{3D2F2623-EB8D-4B31-917E-20787689C35C}" dt="2021-05-18T08:44:00.448" v="1543" actId="20577"/>
          <ac:spMkLst>
            <pc:docMk/>
            <pc:sldMk cId="3206286563" sldId="265"/>
            <ac:spMk id="5" creationId="{F57F3FDC-56F0-46F2-AE9A-2D40D8BF8DC3}"/>
          </ac:spMkLst>
        </pc:spChg>
        <pc:spChg chg="add mod">
          <ac:chgData name="Sebastian Braun" userId="e1610f528f931118" providerId="LiveId" clId="{3D2F2623-EB8D-4B31-917E-20787689C35C}" dt="2021-05-18T08:36:37.415" v="1271" actId="208"/>
          <ac:spMkLst>
            <pc:docMk/>
            <pc:sldMk cId="3206286563" sldId="265"/>
            <ac:spMk id="6" creationId="{E301437F-9AEF-4B95-8C4F-F69048FF64B9}"/>
          </ac:spMkLst>
        </pc:spChg>
        <pc:spChg chg="add mod">
          <ac:chgData name="Sebastian Braun" userId="e1610f528f931118" providerId="LiveId" clId="{3D2F2623-EB8D-4B31-917E-20787689C35C}" dt="2021-05-18T08:36:37.415" v="1271" actId="208"/>
          <ac:spMkLst>
            <pc:docMk/>
            <pc:sldMk cId="3206286563" sldId="265"/>
            <ac:spMk id="7" creationId="{749A2339-97FB-4D23-AE87-9BD0F1BFC215}"/>
          </ac:spMkLst>
        </pc:spChg>
        <pc:spChg chg="add mod">
          <ac:chgData name="Sebastian Braun" userId="e1610f528f931118" providerId="LiveId" clId="{3D2F2623-EB8D-4B31-917E-20787689C35C}" dt="2021-05-18T08:36:37.415" v="1271" actId="208"/>
          <ac:spMkLst>
            <pc:docMk/>
            <pc:sldMk cId="3206286563" sldId="265"/>
            <ac:spMk id="8" creationId="{4142F7A6-998F-4BF2-AF0A-7C5295552DC1}"/>
          </ac:spMkLst>
        </pc:spChg>
        <pc:spChg chg="add mod">
          <ac:chgData name="Sebastian Braun" userId="e1610f528f931118" providerId="LiveId" clId="{3D2F2623-EB8D-4B31-917E-20787689C35C}" dt="2021-05-18T08:36:37.415" v="1271" actId="208"/>
          <ac:spMkLst>
            <pc:docMk/>
            <pc:sldMk cId="3206286563" sldId="265"/>
            <ac:spMk id="9" creationId="{ED9CA3CB-8F41-4F05-8796-695BB71A7FED}"/>
          </ac:spMkLst>
        </pc:spChg>
        <pc:spChg chg="add mod">
          <ac:chgData name="Sebastian Braun" userId="e1610f528f931118" providerId="LiveId" clId="{3D2F2623-EB8D-4B31-917E-20787689C35C}" dt="2021-05-18T08:38:13.459" v="1338" actId="20577"/>
          <ac:spMkLst>
            <pc:docMk/>
            <pc:sldMk cId="3206286563" sldId="265"/>
            <ac:spMk id="10" creationId="{8E719218-D015-448A-82BB-847EE5F5FC36}"/>
          </ac:spMkLst>
        </pc:spChg>
        <pc:spChg chg="add mod">
          <ac:chgData name="Sebastian Braun" userId="e1610f528f931118" providerId="LiveId" clId="{3D2F2623-EB8D-4B31-917E-20787689C35C}" dt="2021-05-18T08:38:21.738" v="1353" actId="20577"/>
          <ac:spMkLst>
            <pc:docMk/>
            <pc:sldMk cId="3206286563" sldId="265"/>
            <ac:spMk id="11" creationId="{DA204BB5-7F5B-4CBC-A8BE-05C9171F391A}"/>
          </ac:spMkLst>
        </pc:spChg>
        <pc:spChg chg="add mod">
          <ac:chgData name="Sebastian Braun" userId="e1610f528f931118" providerId="LiveId" clId="{3D2F2623-EB8D-4B31-917E-20787689C35C}" dt="2021-05-18T08:38:41.428" v="1358" actId="20577"/>
          <ac:spMkLst>
            <pc:docMk/>
            <pc:sldMk cId="3206286563" sldId="265"/>
            <ac:spMk id="12" creationId="{5A99D72E-5F89-45EA-A616-3B55C514B9DB}"/>
          </ac:spMkLst>
        </pc:spChg>
        <pc:spChg chg="add mod">
          <ac:chgData name="Sebastian Braun" userId="e1610f528f931118" providerId="LiveId" clId="{3D2F2623-EB8D-4B31-917E-20787689C35C}" dt="2021-05-18T09:09:23.206" v="1655" actId="20577"/>
          <ac:spMkLst>
            <pc:docMk/>
            <pc:sldMk cId="3206286563" sldId="265"/>
            <ac:spMk id="13" creationId="{C879D979-8760-4086-A076-8922660BFB46}"/>
          </ac:spMkLst>
        </pc:spChg>
      </pc:sldChg>
      <pc:sldChg chg="add mod ord modShow">
        <pc:chgData name="Sebastian Braun" userId="e1610f528f931118" providerId="LiveId" clId="{3D2F2623-EB8D-4B31-917E-20787689C35C}" dt="2021-05-18T08:54:16.552" v="1596"/>
        <pc:sldMkLst>
          <pc:docMk/>
          <pc:sldMk cId="2346496450" sldId="266"/>
        </pc:sldMkLst>
      </pc:sldChg>
      <pc:sldChg chg="add mod ord modShow">
        <pc:chgData name="Sebastian Braun" userId="e1610f528f931118" providerId="LiveId" clId="{3D2F2623-EB8D-4B31-917E-20787689C35C}" dt="2021-05-18T08:48:30.881" v="1551" actId="729"/>
        <pc:sldMkLst>
          <pc:docMk/>
          <pc:sldMk cId="858010138" sldId="267"/>
        </pc:sldMkLst>
      </pc:sldChg>
      <pc:sldChg chg="addSp modSp new mod">
        <pc:chgData name="Sebastian Braun" userId="e1610f528f931118" providerId="LiveId" clId="{3D2F2623-EB8D-4B31-917E-20787689C35C}" dt="2021-05-18T09:59:55.729" v="1766" actId="14100"/>
        <pc:sldMkLst>
          <pc:docMk/>
          <pc:sldMk cId="3529369640" sldId="272"/>
        </pc:sldMkLst>
        <pc:spChg chg="add mod">
          <ac:chgData name="Sebastian Braun" userId="e1610f528f931118" providerId="LiveId" clId="{3D2F2623-EB8D-4B31-917E-20787689C35C}" dt="2021-05-18T09:59:55.729" v="1766" actId="14100"/>
          <ac:spMkLst>
            <pc:docMk/>
            <pc:sldMk cId="3529369640" sldId="272"/>
            <ac:spMk id="5" creationId="{0386B8FB-580F-4CB2-8A4A-2136D28D2479}"/>
          </ac:spMkLst>
        </pc:spChg>
      </pc:sldChg>
    </pc:docChg>
  </pc:docChgLst>
  <pc:docChgLst>
    <pc:chgData name="Lena Mündel" userId="147c7959c6fcdb42" providerId="LiveId" clId="{965E4120-8743-3348-B1DE-B291230BB55E}"/>
    <pc:docChg chg="undo custSel addSld delSld modSld sldOrd delMainMaster modMainMaster">
      <pc:chgData name="Lena Mündel" userId="147c7959c6fcdb42" providerId="LiveId" clId="{965E4120-8743-3348-B1DE-B291230BB55E}" dt="2021-05-18T09:19:58.328" v="1555" actId="1076"/>
      <pc:docMkLst>
        <pc:docMk/>
      </pc:docMkLst>
      <pc:sldChg chg="addSp delSp modSp mod modClrScheme chgLayout">
        <pc:chgData name="Lena Mündel" userId="147c7959c6fcdb42" providerId="LiveId" clId="{965E4120-8743-3348-B1DE-B291230BB55E}" dt="2021-05-18T09:03:34.228" v="1360" actId="20577"/>
        <pc:sldMkLst>
          <pc:docMk/>
          <pc:sldMk cId="923092658" sldId="256"/>
        </pc:sldMkLst>
        <pc:spChg chg="mod ord">
          <ac:chgData name="Lena Mündel" userId="147c7959c6fcdb42" providerId="LiveId" clId="{965E4120-8743-3348-B1DE-B291230BB55E}" dt="2021-05-17T23:56:28.814" v="838"/>
          <ac:spMkLst>
            <pc:docMk/>
            <pc:sldMk cId="923092658" sldId="256"/>
            <ac:spMk id="2" creationId="{C389C1A7-750C-1344-83F0-7F0496275F29}"/>
          </ac:spMkLst>
        </pc:spChg>
        <pc:spChg chg="del mod ord">
          <ac:chgData name="Lena Mündel" userId="147c7959c6fcdb42" providerId="LiveId" clId="{965E4120-8743-3348-B1DE-B291230BB55E}" dt="2021-05-17T20:52:03.283" v="487"/>
          <ac:spMkLst>
            <pc:docMk/>
            <pc:sldMk cId="923092658" sldId="256"/>
            <ac:spMk id="3" creationId="{73DCEB24-666A-ED48-B0E3-234CBE95C028}"/>
          </ac:spMkLst>
        </pc:spChg>
        <pc:spChg chg="del mod ord">
          <ac:chgData name="Lena Mündel" userId="147c7959c6fcdb42" providerId="LiveId" clId="{965E4120-8743-3348-B1DE-B291230BB55E}" dt="2021-05-17T20:52:03.283" v="487"/>
          <ac:spMkLst>
            <pc:docMk/>
            <pc:sldMk cId="923092658" sldId="256"/>
            <ac:spMk id="4" creationId="{E1316627-4242-1E41-93FA-F5062D6E5EDC}"/>
          </ac:spMkLst>
        </pc:spChg>
        <pc:spChg chg="add mod">
          <ac:chgData name="Lena Mündel" userId="147c7959c6fcdb42" providerId="LiveId" clId="{965E4120-8743-3348-B1DE-B291230BB55E}" dt="2021-05-18T08:50:22.936" v="1111" actId="555"/>
          <ac:spMkLst>
            <pc:docMk/>
            <pc:sldMk cId="923092658" sldId="256"/>
            <ac:spMk id="5" creationId="{D471CF75-E2E9-3A4E-A74E-675C8AD41526}"/>
          </ac:spMkLst>
        </pc:spChg>
        <pc:spChg chg="add mod">
          <ac:chgData name="Lena Mündel" userId="147c7959c6fcdb42" providerId="LiveId" clId="{965E4120-8743-3348-B1DE-B291230BB55E}" dt="2021-05-17T23:58:57.733" v="890" actId="1076"/>
          <ac:spMkLst>
            <pc:docMk/>
            <pc:sldMk cId="923092658" sldId="256"/>
            <ac:spMk id="6" creationId="{C3D27218-21DA-CB4F-88F9-4DDA75F6FAEE}"/>
          </ac:spMkLst>
        </pc:spChg>
        <pc:spChg chg="add mod">
          <ac:chgData name="Lena Mündel" userId="147c7959c6fcdb42" providerId="LiveId" clId="{965E4120-8743-3348-B1DE-B291230BB55E}" dt="2021-05-17T23:59:47.228" v="899" actId="1076"/>
          <ac:spMkLst>
            <pc:docMk/>
            <pc:sldMk cId="923092658" sldId="256"/>
            <ac:spMk id="7" creationId="{D30051DB-49D3-E645-8630-1E580B84A2D5}"/>
          </ac:spMkLst>
        </pc:spChg>
        <pc:spChg chg="add mod">
          <ac:chgData name="Lena Mündel" userId="147c7959c6fcdb42" providerId="LiveId" clId="{965E4120-8743-3348-B1DE-B291230BB55E}" dt="2021-05-18T09:02:52.287" v="1339" actId="20577"/>
          <ac:spMkLst>
            <pc:docMk/>
            <pc:sldMk cId="923092658" sldId="256"/>
            <ac:spMk id="8" creationId="{51DD5086-322A-D14F-B6CA-18384F81687F}"/>
          </ac:spMkLst>
        </pc:spChg>
        <pc:spChg chg="add mod">
          <ac:chgData name="Lena Mündel" userId="147c7959c6fcdb42" providerId="LiveId" clId="{965E4120-8743-3348-B1DE-B291230BB55E}" dt="2021-05-17T23:58:57.733" v="890" actId="1076"/>
          <ac:spMkLst>
            <pc:docMk/>
            <pc:sldMk cId="923092658" sldId="256"/>
            <ac:spMk id="9" creationId="{BBBD88FA-F98C-0946-96F2-8286680CD703}"/>
          </ac:spMkLst>
        </pc:spChg>
        <pc:spChg chg="add mod">
          <ac:chgData name="Lena Mündel" userId="147c7959c6fcdb42" providerId="LiveId" clId="{965E4120-8743-3348-B1DE-B291230BB55E}" dt="2021-05-17T23:59:47.228" v="899" actId="1076"/>
          <ac:spMkLst>
            <pc:docMk/>
            <pc:sldMk cId="923092658" sldId="256"/>
            <ac:spMk id="10" creationId="{B6913845-CBFD-504A-8AE2-B1CCA0586C24}"/>
          </ac:spMkLst>
        </pc:spChg>
        <pc:spChg chg="add del mod modVis">
          <ac:chgData name="Lena Mündel" userId="147c7959c6fcdb42" providerId="LiveId" clId="{965E4120-8743-3348-B1DE-B291230BB55E}" dt="2021-05-17T20:47:03.370" v="231"/>
          <ac:spMkLst>
            <pc:docMk/>
            <pc:sldMk cId="923092658" sldId="256"/>
            <ac:spMk id="11" creationId="{07CC8795-FFCE-2A46-B86E-2AEB17637A70}"/>
          </ac:spMkLst>
        </pc:spChg>
        <pc:spChg chg="add del mod modVis">
          <ac:chgData name="Lena Mündel" userId="147c7959c6fcdb42" providerId="LiveId" clId="{965E4120-8743-3348-B1DE-B291230BB55E}" dt="2021-05-17T20:47:04.642" v="289"/>
          <ac:spMkLst>
            <pc:docMk/>
            <pc:sldMk cId="923092658" sldId="256"/>
            <ac:spMk id="13" creationId="{CB5CB669-6EC1-E64D-891B-6EADBC4D8243}"/>
          </ac:spMkLst>
        </pc:spChg>
        <pc:spChg chg="add del mod modVis">
          <ac:chgData name="Lena Mündel" userId="147c7959c6fcdb42" providerId="LiveId" clId="{965E4120-8743-3348-B1DE-B291230BB55E}" dt="2021-05-17T20:47:05.897" v="336"/>
          <ac:spMkLst>
            <pc:docMk/>
            <pc:sldMk cId="923092658" sldId="256"/>
            <ac:spMk id="14" creationId="{98ED3711-9494-3449-ADE8-E561F02AA2C7}"/>
          </ac:spMkLst>
        </pc:spChg>
        <pc:spChg chg="add del mod modVis">
          <ac:chgData name="Lena Mündel" userId="147c7959c6fcdb42" providerId="LiveId" clId="{965E4120-8743-3348-B1DE-B291230BB55E}" dt="2021-05-17T20:48:39.804" v="379"/>
          <ac:spMkLst>
            <pc:docMk/>
            <pc:sldMk cId="923092658" sldId="256"/>
            <ac:spMk id="15" creationId="{717ABF74-BBDC-9946-BB0F-ABC083FD974C}"/>
          </ac:spMkLst>
        </pc:spChg>
        <pc:spChg chg="add del mod modVis">
          <ac:chgData name="Lena Mündel" userId="147c7959c6fcdb42" providerId="LiveId" clId="{965E4120-8743-3348-B1DE-B291230BB55E}" dt="2021-05-17T20:48:41.055" v="423"/>
          <ac:spMkLst>
            <pc:docMk/>
            <pc:sldMk cId="923092658" sldId="256"/>
            <ac:spMk id="16" creationId="{05938538-B2F6-9443-8F56-4FBC273DE3A9}"/>
          </ac:spMkLst>
        </pc:spChg>
        <pc:spChg chg="add del mod modVis">
          <ac:chgData name="Lena Mündel" userId="147c7959c6fcdb42" providerId="LiveId" clId="{965E4120-8743-3348-B1DE-B291230BB55E}" dt="2021-05-17T20:48:42.162" v="466"/>
          <ac:spMkLst>
            <pc:docMk/>
            <pc:sldMk cId="923092658" sldId="256"/>
            <ac:spMk id="17" creationId="{CD1F1E83-5BE8-B947-80C0-E4269F5F548A}"/>
          </ac:spMkLst>
        </pc:spChg>
        <pc:spChg chg="add mod ord">
          <ac:chgData name="Lena Mündel" userId="147c7959c6fcdb42" providerId="LiveId" clId="{965E4120-8743-3348-B1DE-B291230BB55E}" dt="2021-05-17T23:58:42.494" v="887" actId="553"/>
          <ac:spMkLst>
            <pc:docMk/>
            <pc:sldMk cId="923092658" sldId="256"/>
            <ac:spMk id="18" creationId="{D467383C-505F-AF43-AC6C-A66431C7BE78}"/>
          </ac:spMkLst>
        </pc:spChg>
        <pc:spChg chg="add mod ord">
          <ac:chgData name="Lena Mündel" userId="147c7959c6fcdb42" providerId="LiveId" clId="{965E4120-8743-3348-B1DE-B291230BB55E}" dt="2021-05-17T23:56:28.818" v="840"/>
          <ac:spMkLst>
            <pc:docMk/>
            <pc:sldMk cId="923092658" sldId="256"/>
            <ac:spMk id="19" creationId="{7A2D0668-1117-F74E-BA44-50D1E6412A02}"/>
          </ac:spMkLst>
        </pc:spChg>
        <pc:spChg chg="add mod">
          <ac:chgData name="Lena Mündel" userId="147c7959c6fcdb42" providerId="LiveId" clId="{965E4120-8743-3348-B1DE-B291230BB55E}" dt="2021-05-17T23:56:28.832" v="847"/>
          <ac:spMkLst>
            <pc:docMk/>
            <pc:sldMk cId="923092658" sldId="256"/>
            <ac:spMk id="20" creationId="{60B01AE6-ED66-BB40-9825-1620CA774FE7}"/>
          </ac:spMkLst>
        </pc:spChg>
        <pc:spChg chg="add mod">
          <ac:chgData name="Lena Mündel" userId="147c7959c6fcdb42" providerId="LiveId" clId="{965E4120-8743-3348-B1DE-B291230BB55E}" dt="2021-05-17T20:58:10.594" v="545" actId="164"/>
          <ac:spMkLst>
            <pc:docMk/>
            <pc:sldMk cId="923092658" sldId="256"/>
            <ac:spMk id="23" creationId="{FA59442D-70F1-2443-8580-26965838FC9F}"/>
          </ac:spMkLst>
        </pc:spChg>
        <pc:spChg chg="add mod">
          <ac:chgData name="Lena Mündel" userId="147c7959c6fcdb42" providerId="LiveId" clId="{965E4120-8743-3348-B1DE-B291230BB55E}" dt="2021-05-17T23:56:00.474" v="808" actId="207"/>
          <ac:spMkLst>
            <pc:docMk/>
            <pc:sldMk cId="923092658" sldId="256"/>
            <ac:spMk id="31" creationId="{0032D97B-31DB-E649-BE0E-38CD59373F3C}"/>
          </ac:spMkLst>
        </pc:spChg>
        <pc:spChg chg="add mod">
          <ac:chgData name="Lena Mündel" userId="147c7959c6fcdb42" providerId="LiveId" clId="{965E4120-8743-3348-B1DE-B291230BB55E}" dt="2021-05-17T23:58:25.092" v="884" actId="465"/>
          <ac:spMkLst>
            <pc:docMk/>
            <pc:sldMk cId="923092658" sldId="256"/>
            <ac:spMk id="32" creationId="{FD65EBF1-A643-074E-BD7C-1B5CE9F91E52}"/>
          </ac:spMkLst>
        </pc:spChg>
        <pc:spChg chg="add mod">
          <ac:chgData name="Lena Mündel" userId="147c7959c6fcdb42" providerId="LiveId" clId="{965E4120-8743-3348-B1DE-B291230BB55E}" dt="2021-05-17T23:57:28.026" v="864" actId="122"/>
          <ac:spMkLst>
            <pc:docMk/>
            <pc:sldMk cId="923092658" sldId="256"/>
            <ac:spMk id="33" creationId="{D5407CA0-084A-2141-BDF8-D9E70D59ACED}"/>
          </ac:spMkLst>
        </pc:spChg>
        <pc:spChg chg="mod">
          <ac:chgData name="Lena Mündel" userId="147c7959c6fcdb42" providerId="LiveId" clId="{965E4120-8743-3348-B1DE-B291230BB55E}" dt="2021-05-18T08:51:06.168" v="1116" actId="14100"/>
          <ac:spMkLst>
            <pc:docMk/>
            <pc:sldMk cId="923092658" sldId="256"/>
            <ac:spMk id="37" creationId="{007DABBB-F466-4E3F-828E-36E83EDD719E}"/>
          </ac:spMkLst>
        </pc:spChg>
        <pc:spChg chg="mod">
          <ac:chgData name="Lena Mündel" userId="147c7959c6fcdb42" providerId="LiveId" clId="{965E4120-8743-3348-B1DE-B291230BB55E}" dt="2021-05-18T09:03:34.228" v="1360" actId="20577"/>
          <ac:spMkLst>
            <pc:docMk/>
            <pc:sldMk cId="923092658" sldId="256"/>
            <ac:spMk id="42" creationId="{3F934D5F-50D8-4474-B562-DF3FA4025E70}"/>
          </ac:spMkLst>
        </pc:spChg>
        <pc:spChg chg="mod">
          <ac:chgData name="Lena Mündel" userId="147c7959c6fcdb42" providerId="LiveId" clId="{965E4120-8743-3348-B1DE-B291230BB55E}" dt="2021-05-18T08:50:22.936" v="1111" actId="555"/>
          <ac:spMkLst>
            <pc:docMk/>
            <pc:sldMk cId="923092658" sldId="256"/>
            <ac:spMk id="43" creationId="{7A4D05A6-B9DD-457B-B540-D3FB1B2593E8}"/>
          </ac:spMkLst>
        </pc:spChg>
        <pc:grpChg chg="add mod">
          <ac:chgData name="Lena Mündel" userId="147c7959c6fcdb42" providerId="LiveId" clId="{965E4120-8743-3348-B1DE-B291230BB55E}" dt="2021-05-18T00:00:08.044" v="903" actId="1076"/>
          <ac:grpSpMkLst>
            <pc:docMk/>
            <pc:sldMk cId="923092658" sldId="256"/>
            <ac:grpSpMk id="24" creationId="{1A31B989-270B-234F-9E61-CACC691422E6}"/>
          </ac:grpSpMkLst>
        </pc:grpChg>
        <pc:grpChg chg="add mod">
          <ac:chgData name="Lena Mündel" userId="147c7959c6fcdb42" providerId="LiveId" clId="{965E4120-8743-3348-B1DE-B291230BB55E}" dt="2021-05-17T23:59:47.228" v="899" actId="1076"/>
          <ac:grpSpMkLst>
            <pc:docMk/>
            <pc:sldMk cId="923092658" sldId="256"/>
            <ac:grpSpMk id="34" creationId="{988AF354-94BC-F947-9997-3C0FE19F4D0D}"/>
          </ac:grpSpMkLst>
        </pc:grpChg>
        <pc:grpChg chg="add mod">
          <ac:chgData name="Lena Mündel" userId="147c7959c6fcdb42" providerId="LiveId" clId="{965E4120-8743-3348-B1DE-B291230BB55E}" dt="2021-05-17T23:58:57.733" v="890" actId="1076"/>
          <ac:grpSpMkLst>
            <pc:docMk/>
            <pc:sldMk cId="923092658" sldId="256"/>
            <ac:grpSpMk id="35" creationId="{2FDAB47D-083F-F74B-8360-BE35351996F3}"/>
          </ac:grpSpMkLst>
        </pc:grpChg>
        <pc:grpChg chg="add mod">
          <ac:chgData name="Lena Mündel" userId="147c7959c6fcdb42" providerId="LiveId" clId="{965E4120-8743-3348-B1DE-B291230BB55E}" dt="2021-05-17T23:59:04.133" v="891" actId="554"/>
          <ac:grpSpMkLst>
            <pc:docMk/>
            <pc:sldMk cId="923092658" sldId="256"/>
            <ac:grpSpMk id="36" creationId="{F23B73F9-DD67-E44C-A423-538921212460}"/>
          </ac:grpSpMkLst>
        </pc:grpChg>
        <pc:graphicFrameChg chg="add mod modVis">
          <ac:chgData name="Lena Mündel" userId="147c7959c6fcdb42" providerId="LiveId" clId="{965E4120-8743-3348-B1DE-B291230BB55E}" dt="2021-05-17T23:56:28.848" v="853"/>
          <ac:graphicFrameMkLst>
            <pc:docMk/>
            <pc:sldMk cId="923092658" sldId="256"/>
            <ac:graphicFrameMk id="12" creationId="{4921C405-3BEF-F14B-99CD-5A28A81684EE}"/>
          </ac:graphicFrameMkLst>
        </pc:graphicFrameChg>
        <pc:picChg chg="mod">
          <ac:chgData name="Lena Mündel" userId="147c7959c6fcdb42" providerId="LiveId" clId="{965E4120-8743-3348-B1DE-B291230BB55E}" dt="2021-05-18T09:02:55.884" v="1340" actId="1076"/>
          <ac:picMkLst>
            <pc:docMk/>
            <pc:sldMk cId="923092658" sldId="256"/>
            <ac:picMk id="15" creationId="{1F71A4FD-BF3C-439E-97D0-AD7ADFEE389B}"/>
          </ac:picMkLst>
        </pc:picChg>
        <pc:picChg chg="add mod">
          <ac:chgData name="Lena Mündel" userId="147c7959c6fcdb42" providerId="LiveId" clId="{965E4120-8743-3348-B1DE-B291230BB55E}" dt="2021-05-17T20:58:10.594" v="545" actId="164"/>
          <ac:picMkLst>
            <pc:docMk/>
            <pc:sldMk cId="923092658" sldId="256"/>
            <ac:picMk id="22" creationId="{58C1267B-0A56-7544-8412-16AD0B6F7255}"/>
          </ac:picMkLst>
        </pc:picChg>
        <pc:picChg chg="add mod">
          <ac:chgData name="Lena Mündel" userId="147c7959c6fcdb42" providerId="LiveId" clId="{965E4120-8743-3348-B1DE-B291230BB55E}" dt="2021-05-17T23:58:25.092" v="884" actId="465"/>
          <ac:picMkLst>
            <pc:docMk/>
            <pc:sldMk cId="923092658" sldId="256"/>
            <ac:picMk id="26" creationId="{1375FCEB-893F-A74B-93C8-F96349A79264}"/>
          </ac:picMkLst>
        </pc:picChg>
        <pc:picChg chg="add mod">
          <ac:chgData name="Lena Mündel" userId="147c7959c6fcdb42" providerId="LiveId" clId="{965E4120-8743-3348-B1DE-B291230BB55E}" dt="2021-05-17T23:56:35.426" v="855" actId="164"/>
          <ac:picMkLst>
            <pc:docMk/>
            <pc:sldMk cId="923092658" sldId="256"/>
            <ac:picMk id="28" creationId="{25AF5FC3-F656-6840-8B74-18AE6DC49C22}"/>
          </ac:picMkLst>
        </pc:picChg>
        <pc:picChg chg="add mod">
          <ac:chgData name="Lena Mündel" userId="147c7959c6fcdb42" providerId="LiveId" clId="{965E4120-8743-3348-B1DE-B291230BB55E}" dt="2021-05-17T23:56:15.850" v="830" actId="207"/>
          <ac:picMkLst>
            <pc:docMk/>
            <pc:sldMk cId="923092658" sldId="256"/>
            <ac:picMk id="30" creationId="{FEEB51B5-C765-5044-8348-85E380C50D21}"/>
          </ac:picMkLst>
        </pc:picChg>
        <pc:picChg chg="mod">
          <ac:chgData name="Lena Mündel" userId="147c7959c6fcdb42" providerId="LiveId" clId="{965E4120-8743-3348-B1DE-B291230BB55E}" dt="2021-05-18T08:51:24.623" v="1118" actId="207"/>
          <ac:picMkLst>
            <pc:docMk/>
            <pc:sldMk cId="923092658" sldId="256"/>
            <ac:picMk id="45" creationId="{6D0BC859-6D03-4405-9CBF-2D1E681B0C06}"/>
          </ac:picMkLst>
        </pc:picChg>
        <pc:cxnChg chg="add mod">
          <ac:chgData name="Lena Mündel" userId="147c7959c6fcdb42" providerId="LiveId" clId="{965E4120-8743-3348-B1DE-B291230BB55E}" dt="2021-05-17T23:58:51.806" v="889" actId="1582"/>
          <ac:cxnSpMkLst>
            <pc:docMk/>
            <pc:sldMk cId="923092658" sldId="256"/>
            <ac:cxnSpMk id="38" creationId="{4697CDFC-7A4E-3D44-A974-96C46B6686D4}"/>
          </ac:cxnSpMkLst>
        </pc:cxnChg>
        <pc:cxnChg chg="add mod">
          <ac:chgData name="Lena Mündel" userId="147c7959c6fcdb42" providerId="LiveId" clId="{965E4120-8743-3348-B1DE-B291230BB55E}" dt="2021-05-17T23:58:57.733" v="890" actId="1076"/>
          <ac:cxnSpMkLst>
            <pc:docMk/>
            <pc:sldMk cId="923092658" sldId="256"/>
            <ac:cxnSpMk id="39" creationId="{EB25C602-4425-F74C-A07C-A5E560DC8A57}"/>
          </ac:cxnSpMkLst>
        </pc:cxnChg>
        <pc:cxnChg chg="add mod">
          <ac:chgData name="Lena Mündel" userId="147c7959c6fcdb42" providerId="LiveId" clId="{965E4120-8743-3348-B1DE-B291230BB55E}" dt="2021-05-17T23:59:47.228" v="899" actId="1076"/>
          <ac:cxnSpMkLst>
            <pc:docMk/>
            <pc:sldMk cId="923092658" sldId="256"/>
            <ac:cxnSpMk id="40" creationId="{7C684911-6FAB-8E4A-A213-6C65B7CE507D}"/>
          </ac:cxnSpMkLst>
        </pc:cxnChg>
      </pc:sldChg>
      <pc:sldChg chg="addSp delSp modSp new add mod ord">
        <pc:chgData name="Lena Mündel" userId="147c7959c6fcdb42" providerId="LiveId" clId="{965E4120-8743-3348-B1DE-B291230BB55E}" dt="2021-05-18T08:13:55.791" v="950" actId="1037"/>
        <pc:sldMkLst>
          <pc:docMk/>
          <pc:sldMk cId="755710382" sldId="257"/>
        </pc:sldMkLst>
        <pc:spChg chg="mod">
          <ac:chgData name="Lena Mündel" userId="147c7959c6fcdb42" providerId="LiveId" clId="{965E4120-8743-3348-B1DE-B291230BB55E}" dt="2021-05-17T21:29:15.510" v="687"/>
          <ac:spMkLst>
            <pc:docMk/>
            <pc:sldMk cId="755710382" sldId="257"/>
            <ac:spMk id="2" creationId="{A67EA19A-C908-4E5A-A22D-617B9DC33DAF}"/>
          </ac:spMkLst>
        </pc:spChg>
        <pc:spChg chg="add del">
          <ac:chgData name="Lena Mündel" userId="147c7959c6fcdb42" providerId="LiveId" clId="{965E4120-8743-3348-B1DE-B291230BB55E}" dt="2021-05-17T21:23:55.429" v="555" actId="478"/>
          <ac:spMkLst>
            <pc:docMk/>
            <pc:sldMk cId="755710382" sldId="257"/>
            <ac:spMk id="2" creationId="{B6945093-7812-D948-9F37-AD3FE609557B}"/>
          </ac:spMkLst>
        </pc:spChg>
        <pc:spChg chg="mod">
          <ac:chgData name="Lena Mündel" userId="147c7959c6fcdb42" providerId="LiveId" clId="{965E4120-8743-3348-B1DE-B291230BB55E}" dt="2021-05-17T21:29:15.506" v="683"/>
          <ac:spMkLst>
            <pc:docMk/>
            <pc:sldMk cId="755710382" sldId="257"/>
            <ac:spMk id="3" creationId="{3E491D25-01C4-8A4D-BC2D-309212F486E7}"/>
          </ac:spMkLst>
        </pc:spChg>
        <pc:spChg chg="mod">
          <ac:chgData name="Lena Mündel" userId="147c7959c6fcdb42" providerId="LiveId" clId="{965E4120-8743-3348-B1DE-B291230BB55E}" dt="2021-05-17T21:29:15.507" v="684"/>
          <ac:spMkLst>
            <pc:docMk/>
            <pc:sldMk cId="755710382" sldId="257"/>
            <ac:spMk id="4" creationId="{1F2AB265-DB18-644D-B78E-168827F17421}"/>
          </ac:spMkLst>
        </pc:spChg>
        <pc:spChg chg="mod">
          <ac:chgData name="Lena Mündel" userId="147c7959c6fcdb42" providerId="LiveId" clId="{965E4120-8743-3348-B1DE-B291230BB55E}" dt="2021-05-17T21:29:15.508" v="685"/>
          <ac:spMkLst>
            <pc:docMk/>
            <pc:sldMk cId="755710382" sldId="257"/>
            <ac:spMk id="5" creationId="{16B65C36-12ED-4145-B3E0-10E4626FF558}"/>
          </ac:spMkLst>
        </pc:spChg>
        <pc:spChg chg="add del mod modVis">
          <ac:chgData name="Lena Mündel" userId="147c7959c6fcdb42" providerId="LiveId" clId="{965E4120-8743-3348-B1DE-B291230BB55E}" dt="2021-05-17T21:28:12.232" v="611"/>
          <ac:spMkLst>
            <pc:docMk/>
            <pc:sldMk cId="755710382" sldId="257"/>
            <ac:spMk id="8" creationId="{F38A927D-0A6D-A842-973E-9440518A75AB}"/>
          </ac:spMkLst>
        </pc:spChg>
        <pc:spChg chg="add mod">
          <ac:chgData name="Lena Mündel" userId="147c7959c6fcdb42" providerId="LiveId" clId="{965E4120-8743-3348-B1DE-B291230BB55E}" dt="2021-05-18T08:13:14.890" v="933" actId="207"/>
          <ac:spMkLst>
            <pc:docMk/>
            <pc:sldMk cId="755710382" sldId="257"/>
            <ac:spMk id="10" creationId="{2EE4BDAB-FAEB-0A40-ACA5-DD64C315D46C}"/>
          </ac:spMkLst>
        </pc:spChg>
        <pc:spChg chg="add del mod modVis">
          <ac:chgData name="Lena Mündel" userId="147c7959c6fcdb42" providerId="LiveId" clId="{965E4120-8743-3348-B1DE-B291230BB55E}" dt="2021-05-17T21:29:15.513" v="689"/>
          <ac:spMkLst>
            <pc:docMk/>
            <pc:sldMk cId="755710382" sldId="257"/>
            <ac:spMk id="11" creationId="{0C08AFCD-D132-5141-9D91-BF922F3E868D}"/>
          </ac:spMkLst>
        </pc:spChg>
        <pc:graphicFrameChg chg="add mod modVis">
          <ac:chgData name="Lena Mündel" userId="147c7959c6fcdb42" providerId="LiveId" clId="{965E4120-8743-3348-B1DE-B291230BB55E}" dt="2021-05-17T21:29:15.518" v="691"/>
          <ac:graphicFrameMkLst>
            <pc:docMk/>
            <pc:sldMk cId="755710382" sldId="257"/>
            <ac:graphicFrameMk id="9" creationId="{FD108F87-82DE-A349-8287-1A9757E140C7}"/>
          </ac:graphicFrameMkLst>
        </pc:graphicFrameChg>
        <pc:picChg chg="add mod">
          <ac:chgData name="Lena Mündel" userId="147c7959c6fcdb42" providerId="LiveId" clId="{965E4120-8743-3348-B1DE-B291230BB55E}" dt="2021-05-17T21:29:15.504" v="681"/>
          <ac:picMkLst>
            <pc:docMk/>
            <pc:sldMk cId="755710382" sldId="257"/>
            <ac:picMk id="7" creationId="{44E57542-C911-0544-BA5F-5FF555FCA823}"/>
          </ac:picMkLst>
        </pc:picChg>
        <pc:picChg chg="add mod">
          <ac:chgData name="Lena Mündel" userId="147c7959c6fcdb42" providerId="LiveId" clId="{965E4120-8743-3348-B1DE-B291230BB55E}" dt="2021-05-18T08:13:55.791" v="950" actId="1037"/>
          <ac:picMkLst>
            <pc:docMk/>
            <pc:sldMk cId="755710382" sldId="257"/>
            <ac:picMk id="10243" creationId="{03E01B83-B1F0-0A45-A40A-37B68724D853}"/>
          </ac:picMkLst>
        </pc:picChg>
        <pc:picChg chg="add mod">
          <ac:chgData name="Lena Mündel" userId="147c7959c6fcdb42" providerId="LiveId" clId="{965E4120-8743-3348-B1DE-B291230BB55E}" dt="2021-05-17T21:29:15.509" v="686"/>
          <ac:picMkLst>
            <pc:docMk/>
            <pc:sldMk cId="755710382" sldId="257"/>
            <ac:picMk id="16386" creationId="{412D0709-FE1D-364B-A5E1-81D405D3B072}"/>
          </ac:picMkLst>
        </pc:picChg>
      </pc:sldChg>
      <pc:sldChg chg="new add">
        <pc:chgData name="Lena Mündel" userId="147c7959c6fcdb42" providerId="LiveId" clId="{965E4120-8743-3348-B1DE-B291230BB55E}" dt="2021-05-15T12:04:48.649" v="123"/>
        <pc:sldMkLst>
          <pc:docMk/>
          <pc:sldMk cId="589300072" sldId="258"/>
        </pc:sldMkLst>
      </pc:sldChg>
      <pc:sldChg chg="addSp modSp mod">
        <pc:chgData name="Lena Mündel" userId="147c7959c6fcdb42" providerId="LiveId" clId="{965E4120-8743-3348-B1DE-B291230BB55E}" dt="2021-05-15T12:05:45.839" v="131" actId="12788"/>
        <pc:sldMkLst>
          <pc:docMk/>
          <pc:sldMk cId="1694523067" sldId="258"/>
        </pc:sldMkLst>
        <pc:spChg chg="mod">
          <ac:chgData name="Lena Mündel" userId="147c7959c6fcdb42" providerId="LiveId" clId="{965E4120-8743-3348-B1DE-B291230BB55E}" dt="2021-05-15T12:05:09.089" v="124" actId="931"/>
          <ac:spMkLst>
            <pc:docMk/>
            <pc:sldMk cId="1694523067" sldId="258"/>
            <ac:spMk id="2" creationId="{3B4955D3-A7AC-4EDD-AB82-588089BC2B14}"/>
          </ac:spMkLst>
        </pc:spChg>
        <pc:spChg chg="mod">
          <ac:chgData name="Lena Mündel" userId="147c7959c6fcdb42" providerId="LiveId" clId="{965E4120-8743-3348-B1DE-B291230BB55E}" dt="2021-05-15T12:05:45.839" v="131" actId="12788"/>
          <ac:spMkLst>
            <pc:docMk/>
            <pc:sldMk cId="1694523067" sldId="258"/>
            <ac:spMk id="3" creationId="{2EA2D5FF-88DA-4295-813A-3DBC1C309A50}"/>
          </ac:spMkLst>
        </pc:spChg>
        <pc:picChg chg="add mod">
          <ac:chgData name="Lena Mündel" userId="147c7959c6fcdb42" providerId="LiveId" clId="{965E4120-8743-3348-B1DE-B291230BB55E}" dt="2021-05-15T12:05:45.839" v="131" actId="12788"/>
          <ac:picMkLst>
            <pc:docMk/>
            <pc:sldMk cId="1694523067" sldId="258"/>
            <ac:picMk id="5" creationId="{629460D2-F682-DE43-9EE7-12EF057E6AE3}"/>
          </ac:picMkLst>
        </pc:picChg>
      </pc:sldChg>
      <pc:sldChg chg="addSp delSp modSp del mod">
        <pc:chgData name="Lena Mündel" userId="147c7959c6fcdb42" providerId="LiveId" clId="{965E4120-8743-3348-B1DE-B291230BB55E}" dt="2021-05-15T12:05:50.261" v="132" actId="2696"/>
        <pc:sldMkLst>
          <pc:docMk/>
          <pc:sldMk cId="589300072" sldId="259"/>
        </pc:sldMkLst>
        <pc:picChg chg="add del mod">
          <ac:chgData name="Lena Mündel" userId="147c7959c6fcdb42" providerId="LiveId" clId="{965E4120-8743-3348-B1DE-B291230BB55E}" dt="2021-05-15T12:05:19.547" v="125" actId="21"/>
          <ac:picMkLst>
            <pc:docMk/>
            <pc:sldMk cId="589300072" sldId="259"/>
            <ac:picMk id="4" creationId="{1C18C3CE-7B5B-DF4C-B055-4522899FC6C0}"/>
          </ac:picMkLst>
        </pc:picChg>
      </pc:sldChg>
      <pc:sldChg chg="mod modShow">
        <pc:chgData name="Lena Mündel" userId="147c7959c6fcdb42" providerId="LiveId" clId="{965E4120-8743-3348-B1DE-B291230BB55E}" dt="2021-05-17T20:59:46.778" v="549" actId="729"/>
        <pc:sldMkLst>
          <pc:docMk/>
          <pc:sldMk cId="2066224238" sldId="259"/>
        </pc:sldMkLst>
      </pc:sldChg>
      <pc:sldChg chg="mod modShow">
        <pc:chgData name="Lena Mündel" userId="147c7959c6fcdb42" providerId="LiveId" clId="{965E4120-8743-3348-B1DE-B291230BB55E}" dt="2021-05-17T20:59:46.778" v="549" actId="729"/>
        <pc:sldMkLst>
          <pc:docMk/>
          <pc:sldMk cId="595371731" sldId="260"/>
        </pc:sldMkLst>
      </pc:sldChg>
      <pc:sldChg chg="mod modShow">
        <pc:chgData name="Lena Mündel" userId="147c7959c6fcdb42" providerId="LiveId" clId="{965E4120-8743-3348-B1DE-B291230BB55E}" dt="2021-05-17T20:59:46.778" v="549" actId="729"/>
        <pc:sldMkLst>
          <pc:docMk/>
          <pc:sldMk cId="1428157349" sldId="261"/>
        </pc:sldMkLst>
      </pc:sldChg>
      <pc:sldChg chg="mod modShow">
        <pc:chgData name="Lena Mündel" userId="147c7959c6fcdb42" providerId="LiveId" clId="{965E4120-8743-3348-B1DE-B291230BB55E}" dt="2021-05-17T20:59:46.778" v="549" actId="729"/>
        <pc:sldMkLst>
          <pc:docMk/>
          <pc:sldMk cId="3609777096" sldId="262"/>
        </pc:sldMkLst>
      </pc:sldChg>
      <pc:sldChg chg="mod modShow">
        <pc:chgData name="Lena Mündel" userId="147c7959c6fcdb42" providerId="LiveId" clId="{965E4120-8743-3348-B1DE-B291230BB55E}" dt="2021-05-17T20:59:46.778" v="549" actId="729"/>
        <pc:sldMkLst>
          <pc:docMk/>
          <pc:sldMk cId="1620666167" sldId="263"/>
        </pc:sldMkLst>
      </pc:sldChg>
      <pc:sldChg chg="modSp mod">
        <pc:chgData name="Lena Mündel" userId="147c7959c6fcdb42" providerId="LiveId" clId="{965E4120-8743-3348-B1DE-B291230BB55E}" dt="2021-05-18T09:19:12.437" v="1546" actId="12789"/>
        <pc:sldMkLst>
          <pc:docMk/>
          <pc:sldMk cId="1903498748" sldId="264"/>
        </pc:sldMkLst>
        <pc:spChg chg="mod">
          <ac:chgData name="Lena Mündel" userId="147c7959c6fcdb42" providerId="LiveId" clId="{965E4120-8743-3348-B1DE-B291230BB55E}" dt="2021-05-18T09:18:30.332" v="1541" actId="1076"/>
          <ac:spMkLst>
            <pc:docMk/>
            <pc:sldMk cId="1903498748" sldId="264"/>
            <ac:spMk id="6" creationId="{CC2E037D-58E5-2D42-AD77-063190A61792}"/>
          </ac:spMkLst>
        </pc:spChg>
        <pc:spChg chg="mod">
          <ac:chgData name="Lena Mündel" userId="147c7959c6fcdb42" providerId="LiveId" clId="{965E4120-8743-3348-B1DE-B291230BB55E}" dt="2021-05-18T09:18:05.619" v="1537" actId="20577"/>
          <ac:spMkLst>
            <pc:docMk/>
            <pc:sldMk cId="1903498748" sldId="264"/>
            <ac:spMk id="8" creationId="{F2CFD098-4468-AE4D-AED9-FDAAF3361D4E}"/>
          </ac:spMkLst>
        </pc:spChg>
        <pc:spChg chg="mod">
          <ac:chgData name="Lena Mündel" userId="147c7959c6fcdb42" providerId="LiveId" clId="{965E4120-8743-3348-B1DE-B291230BB55E}" dt="2021-05-18T09:18:30.332" v="1541" actId="1076"/>
          <ac:spMkLst>
            <pc:docMk/>
            <pc:sldMk cId="1903498748" sldId="264"/>
            <ac:spMk id="18" creationId="{4DE03026-9411-9141-A945-E27ADDB41A69}"/>
          </ac:spMkLst>
        </pc:spChg>
        <pc:spChg chg="mod">
          <ac:chgData name="Lena Mündel" userId="147c7959c6fcdb42" providerId="LiveId" clId="{965E4120-8743-3348-B1DE-B291230BB55E}" dt="2021-05-18T09:16:58.542" v="1507" actId="14100"/>
          <ac:spMkLst>
            <pc:docMk/>
            <pc:sldMk cId="1903498748" sldId="264"/>
            <ac:spMk id="26" creationId="{54F32E0C-480F-455E-A608-543823DD00EA}"/>
          </ac:spMkLst>
        </pc:spChg>
        <pc:grpChg chg="mod">
          <ac:chgData name="Lena Mündel" userId="147c7959c6fcdb42" providerId="LiveId" clId="{965E4120-8743-3348-B1DE-B291230BB55E}" dt="2021-05-18T09:19:12.437" v="1546" actId="12789"/>
          <ac:grpSpMkLst>
            <pc:docMk/>
            <pc:sldMk cId="1903498748" sldId="264"/>
            <ac:grpSpMk id="9" creationId="{52139396-F0AD-5C4F-A7D8-38F347AB4129}"/>
          </ac:grpSpMkLst>
        </pc:grpChg>
        <pc:picChg chg="mod">
          <ac:chgData name="Lena Mündel" userId="147c7959c6fcdb42" providerId="LiveId" clId="{965E4120-8743-3348-B1DE-B291230BB55E}" dt="2021-05-18T09:18:30.332" v="1541" actId="1076"/>
          <ac:picMkLst>
            <pc:docMk/>
            <pc:sldMk cId="1903498748" sldId="264"/>
            <ac:picMk id="14" creationId="{928E6F40-BADA-0C40-BFE5-A90663998F4C}"/>
          </ac:picMkLst>
        </pc:picChg>
        <pc:picChg chg="mod">
          <ac:chgData name="Lena Mündel" userId="147c7959c6fcdb42" providerId="LiveId" clId="{965E4120-8743-3348-B1DE-B291230BB55E}" dt="2021-05-18T09:19:12.437" v="1546" actId="12789"/>
          <ac:picMkLst>
            <pc:docMk/>
            <pc:sldMk cId="1903498748" sldId="264"/>
            <ac:picMk id="15" creationId="{7CDD245D-B3C6-4712-B810-0C276CADC31F}"/>
          </ac:picMkLst>
        </pc:picChg>
        <pc:cxnChg chg="mod">
          <ac:chgData name="Lena Mündel" userId="147c7959c6fcdb42" providerId="LiveId" clId="{965E4120-8743-3348-B1DE-B291230BB55E}" dt="2021-05-18T09:18:26.214" v="1540" actId="1076"/>
          <ac:cxnSpMkLst>
            <pc:docMk/>
            <pc:sldMk cId="1903498748" sldId="264"/>
            <ac:cxnSpMk id="12" creationId="{6E761369-747C-8F41-8F6B-E85E26F97841}"/>
          </ac:cxnSpMkLst>
        </pc:cxnChg>
      </pc:sldChg>
      <pc:sldChg chg="delSp modSp mod ord modShow">
        <pc:chgData name="Lena Mündel" userId="147c7959c6fcdb42" providerId="LiveId" clId="{965E4120-8743-3348-B1DE-B291230BB55E}" dt="2021-05-18T09:16:17.439" v="1499"/>
        <pc:sldMkLst>
          <pc:docMk/>
          <pc:sldMk cId="3206286563" sldId="265"/>
        </pc:sldMkLst>
        <pc:spChg chg="mod">
          <ac:chgData name="Lena Mündel" userId="147c7959c6fcdb42" providerId="LiveId" clId="{965E4120-8743-3348-B1DE-B291230BB55E}" dt="2021-05-18T09:10:23.385" v="1398" actId="552"/>
          <ac:spMkLst>
            <pc:docMk/>
            <pc:sldMk cId="3206286563" sldId="265"/>
            <ac:spMk id="3" creationId="{566CB437-0D4E-43C2-A1B3-59834EEB8261}"/>
          </ac:spMkLst>
        </pc:spChg>
        <pc:spChg chg="del mod">
          <ac:chgData name="Lena Mündel" userId="147c7959c6fcdb42" providerId="LiveId" clId="{965E4120-8743-3348-B1DE-B291230BB55E}" dt="2021-05-18T09:07:56.456" v="1375" actId="478"/>
          <ac:spMkLst>
            <pc:docMk/>
            <pc:sldMk cId="3206286563" sldId="265"/>
            <ac:spMk id="6" creationId="{E301437F-9AEF-4B95-8C4F-F69048FF64B9}"/>
          </ac:spMkLst>
        </pc:spChg>
        <pc:spChg chg="del">
          <ac:chgData name="Lena Mündel" userId="147c7959c6fcdb42" providerId="LiveId" clId="{965E4120-8743-3348-B1DE-B291230BB55E}" dt="2021-05-18T09:07:47.548" v="1373" actId="478"/>
          <ac:spMkLst>
            <pc:docMk/>
            <pc:sldMk cId="3206286563" sldId="265"/>
            <ac:spMk id="7" creationId="{749A2339-97FB-4D23-AE87-9BD0F1BFC215}"/>
          </ac:spMkLst>
        </pc:spChg>
        <pc:spChg chg="del mod">
          <ac:chgData name="Lena Mündel" userId="147c7959c6fcdb42" providerId="LiveId" clId="{965E4120-8743-3348-B1DE-B291230BB55E}" dt="2021-05-18T09:07:45.116" v="1371" actId="478"/>
          <ac:spMkLst>
            <pc:docMk/>
            <pc:sldMk cId="3206286563" sldId="265"/>
            <ac:spMk id="8" creationId="{4142F7A6-998F-4BF2-AF0A-7C5295552DC1}"/>
          </ac:spMkLst>
        </pc:spChg>
        <pc:spChg chg="del mod">
          <ac:chgData name="Lena Mündel" userId="147c7959c6fcdb42" providerId="LiveId" clId="{965E4120-8743-3348-B1DE-B291230BB55E}" dt="2021-05-18T09:08:00.094" v="1376" actId="478"/>
          <ac:spMkLst>
            <pc:docMk/>
            <pc:sldMk cId="3206286563" sldId="265"/>
            <ac:spMk id="9" creationId="{ED9CA3CB-8F41-4F05-8796-695BB71A7FED}"/>
          </ac:spMkLst>
        </pc:spChg>
        <pc:spChg chg="mod">
          <ac:chgData name="Lena Mündel" userId="147c7959c6fcdb42" providerId="LiveId" clId="{965E4120-8743-3348-B1DE-B291230BB55E}" dt="2021-05-18T09:10:23.385" v="1398" actId="552"/>
          <ac:spMkLst>
            <pc:docMk/>
            <pc:sldMk cId="3206286563" sldId="265"/>
            <ac:spMk id="10" creationId="{8E719218-D015-448A-82BB-847EE5F5FC36}"/>
          </ac:spMkLst>
        </pc:spChg>
        <pc:spChg chg="mod">
          <ac:chgData name="Lena Mündel" userId="147c7959c6fcdb42" providerId="LiveId" clId="{965E4120-8743-3348-B1DE-B291230BB55E}" dt="2021-05-18T09:11:29.706" v="1408" actId="3064"/>
          <ac:spMkLst>
            <pc:docMk/>
            <pc:sldMk cId="3206286563" sldId="265"/>
            <ac:spMk id="11" creationId="{DA204BB5-7F5B-4CBC-A8BE-05C9171F391A}"/>
          </ac:spMkLst>
        </pc:spChg>
        <pc:spChg chg="mod">
          <ac:chgData name="Lena Mündel" userId="147c7959c6fcdb42" providerId="LiveId" clId="{965E4120-8743-3348-B1DE-B291230BB55E}" dt="2021-05-18T09:11:29.706" v="1408" actId="3064"/>
          <ac:spMkLst>
            <pc:docMk/>
            <pc:sldMk cId="3206286563" sldId="265"/>
            <ac:spMk id="12" creationId="{5A99D72E-5F89-45EA-A616-3B55C514B9DB}"/>
          </ac:spMkLst>
        </pc:spChg>
        <pc:spChg chg="mod">
          <ac:chgData name="Lena Mündel" userId="147c7959c6fcdb42" providerId="LiveId" clId="{965E4120-8743-3348-B1DE-B291230BB55E}" dt="2021-05-18T09:10:23.385" v="1398" actId="552"/>
          <ac:spMkLst>
            <pc:docMk/>
            <pc:sldMk cId="3206286563" sldId="265"/>
            <ac:spMk id="13" creationId="{C879D979-8760-4086-A076-8922660BFB46}"/>
          </ac:spMkLst>
        </pc:spChg>
        <pc:picChg chg="mod modCrop">
          <ac:chgData name="Lena Mündel" userId="147c7959c6fcdb42" providerId="LiveId" clId="{965E4120-8743-3348-B1DE-B291230BB55E}" dt="2021-05-18T09:09:56.661" v="1393" actId="465"/>
          <ac:picMkLst>
            <pc:docMk/>
            <pc:sldMk cId="3206286563" sldId="265"/>
            <ac:picMk id="15" creationId="{AB3858DD-B51E-4C14-9BB8-FBA2E7B2DC1E}"/>
          </ac:picMkLst>
        </pc:picChg>
      </pc:sldChg>
      <pc:sldChg chg="new add">
        <pc:chgData name="Lena Mündel" userId="147c7959c6fcdb42" providerId="LiveId" clId="{965E4120-8743-3348-B1DE-B291230BB55E}" dt="2021-05-18T08:52:33.544" v="1120"/>
        <pc:sldMkLst>
          <pc:docMk/>
          <pc:sldMk cId="245553637" sldId="268"/>
        </pc:sldMkLst>
      </pc:sldChg>
      <pc:sldChg chg="addSp delSp modSp mod">
        <pc:chgData name="Lena Mündel" userId="147c7959c6fcdb42" providerId="LiveId" clId="{965E4120-8743-3348-B1DE-B291230BB55E}" dt="2021-05-18T09:02:05.778" v="1337" actId="1036"/>
        <pc:sldMkLst>
          <pc:docMk/>
          <pc:sldMk cId="245553637" sldId="269"/>
        </pc:sldMkLst>
        <pc:spChg chg="mod">
          <ac:chgData name="Lena Mündel" userId="147c7959c6fcdb42" providerId="LiveId" clId="{965E4120-8743-3348-B1DE-B291230BB55E}" dt="2021-05-18T09:01:55.135" v="1279" actId="948"/>
          <ac:spMkLst>
            <pc:docMk/>
            <pc:sldMk cId="245553637" sldId="269"/>
            <ac:spMk id="2" creationId="{06448C78-051B-C64F-AC36-E880241174F7}"/>
          </ac:spMkLst>
        </pc:spChg>
        <pc:spChg chg="mod">
          <ac:chgData name="Lena Mündel" userId="147c7959c6fcdb42" providerId="LiveId" clId="{965E4120-8743-3348-B1DE-B291230BB55E}" dt="2021-05-18T09:00:01.466" v="1250" actId="553"/>
          <ac:spMkLst>
            <pc:docMk/>
            <pc:sldMk cId="245553637" sldId="269"/>
            <ac:spMk id="3" creationId="{BD4A67F2-954B-C540-9A42-DB7206775F0A}"/>
          </ac:spMkLst>
        </pc:spChg>
        <pc:spChg chg="mod">
          <ac:chgData name="Lena Mündel" userId="147c7959c6fcdb42" providerId="LiveId" clId="{965E4120-8743-3348-B1DE-B291230BB55E}" dt="2021-05-18T09:02:01.633" v="1334" actId="1035"/>
          <ac:spMkLst>
            <pc:docMk/>
            <pc:sldMk cId="245553637" sldId="269"/>
            <ac:spMk id="6" creationId="{87CAF0B5-0FA0-4F7E-89E8-D9ED88206D0C}"/>
          </ac:spMkLst>
        </pc:spChg>
        <pc:spChg chg="mod">
          <ac:chgData name="Lena Mündel" userId="147c7959c6fcdb42" providerId="LiveId" clId="{965E4120-8743-3348-B1DE-B291230BB55E}" dt="2021-05-18T09:02:01.633" v="1334" actId="1035"/>
          <ac:spMkLst>
            <pc:docMk/>
            <pc:sldMk cId="245553637" sldId="269"/>
            <ac:spMk id="8" creationId="{594A487B-0BE1-40BB-AA3B-9F8B4A94700A}"/>
          </ac:spMkLst>
        </pc:spChg>
        <pc:spChg chg="mod">
          <ac:chgData name="Lena Mündel" userId="147c7959c6fcdb42" providerId="LiveId" clId="{965E4120-8743-3348-B1DE-B291230BB55E}" dt="2021-05-18T09:02:01.633" v="1334" actId="1035"/>
          <ac:spMkLst>
            <pc:docMk/>
            <pc:sldMk cId="245553637" sldId="269"/>
            <ac:spMk id="10" creationId="{428CBE03-2747-8148-950E-B71AA2A19B31}"/>
          </ac:spMkLst>
        </pc:spChg>
        <pc:spChg chg="mod">
          <ac:chgData name="Lena Mündel" userId="147c7959c6fcdb42" providerId="LiveId" clId="{965E4120-8743-3348-B1DE-B291230BB55E}" dt="2021-05-18T09:02:01.633" v="1334" actId="1035"/>
          <ac:spMkLst>
            <pc:docMk/>
            <pc:sldMk cId="245553637" sldId="269"/>
            <ac:spMk id="12" creationId="{7CC7C9A7-C049-794C-A3AB-31E4A9F4A19F}"/>
          </ac:spMkLst>
        </pc:spChg>
        <pc:spChg chg="mod">
          <ac:chgData name="Lena Mündel" userId="147c7959c6fcdb42" providerId="LiveId" clId="{965E4120-8743-3348-B1DE-B291230BB55E}" dt="2021-05-18T09:02:05.778" v="1337" actId="1036"/>
          <ac:spMkLst>
            <pc:docMk/>
            <pc:sldMk cId="245553637" sldId="269"/>
            <ac:spMk id="15" creationId="{2B2FCF38-B239-470B-A1A3-25E1FF075A41}"/>
          </ac:spMkLst>
        </pc:spChg>
        <pc:spChg chg="mod">
          <ac:chgData name="Lena Mündel" userId="147c7959c6fcdb42" providerId="LiveId" clId="{965E4120-8743-3348-B1DE-B291230BB55E}" dt="2021-05-18T09:02:05.778" v="1337" actId="1036"/>
          <ac:spMkLst>
            <pc:docMk/>
            <pc:sldMk cId="245553637" sldId="269"/>
            <ac:spMk id="16" creationId="{DEAF53B8-21B4-4230-B421-2E6B2E8A50C0}"/>
          </ac:spMkLst>
        </pc:spChg>
        <pc:spChg chg="mod">
          <ac:chgData name="Lena Mündel" userId="147c7959c6fcdb42" providerId="LiveId" clId="{965E4120-8743-3348-B1DE-B291230BB55E}" dt="2021-05-18T09:02:05.778" v="1337" actId="1036"/>
          <ac:spMkLst>
            <pc:docMk/>
            <pc:sldMk cId="245553637" sldId="269"/>
            <ac:spMk id="18" creationId="{FE8E83A9-0E56-4EA7-AB12-FD3329700AB1}"/>
          </ac:spMkLst>
        </pc:spChg>
        <pc:spChg chg="add mod">
          <ac:chgData name="Lena Mündel" userId="147c7959c6fcdb42" providerId="LiveId" clId="{965E4120-8743-3348-B1DE-B291230BB55E}" dt="2021-05-18T09:02:05.778" v="1337" actId="1036"/>
          <ac:spMkLst>
            <pc:docMk/>
            <pc:sldMk cId="245553637" sldId="269"/>
            <ac:spMk id="23" creationId="{82BAFED4-906D-514C-A691-DAF41CD2CBD8}"/>
          </ac:spMkLst>
        </pc:spChg>
        <pc:spChg chg="add del mod modVis">
          <ac:chgData name="Lena Mündel" userId="147c7959c6fcdb42" providerId="LiveId" clId="{965E4120-8743-3348-B1DE-B291230BB55E}" dt="2021-05-18T09:01:55.244" v="1318"/>
          <ac:spMkLst>
            <pc:docMk/>
            <pc:sldMk cId="245553637" sldId="269"/>
            <ac:spMk id="24" creationId="{17D734FC-01D0-0347-8062-DBA963E81FF3}"/>
          </ac:spMkLst>
        </pc:spChg>
        <pc:graphicFrameChg chg="add mod modVis">
          <ac:chgData name="Lena Mündel" userId="147c7959c6fcdb42" providerId="LiveId" clId="{965E4120-8743-3348-B1DE-B291230BB55E}" dt="2021-05-18T09:01:55.248" v="1320"/>
          <ac:graphicFrameMkLst>
            <pc:docMk/>
            <pc:sldMk cId="245553637" sldId="269"/>
            <ac:graphicFrameMk id="5" creationId="{D7998B65-90AB-BA45-B124-9D453AA64D62}"/>
          </ac:graphicFrameMkLst>
        </pc:graphicFrameChg>
        <pc:picChg chg="add mod modCrop">
          <ac:chgData name="Lena Mündel" userId="147c7959c6fcdb42" providerId="LiveId" clId="{965E4120-8743-3348-B1DE-B291230BB55E}" dt="2021-05-18T09:02:01.633" v="1334" actId="1035"/>
          <ac:picMkLst>
            <pc:docMk/>
            <pc:sldMk cId="245553637" sldId="269"/>
            <ac:picMk id="7" creationId="{B8128788-0D8B-D94B-B7CF-E321217A91E7}"/>
          </ac:picMkLst>
        </pc:picChg>
        <pc:picChg chg="add mod modCrop">
          <ac:chgData name="Lena Mündel" userId="147c7959c6fcdb42" providerId="LiveId" clId="{965E4120-8743-3348-B1DE-B291230BB55E}" dt="2021-05-18T09:02:01.633" v="1334" actId="1035"/>
          <ac:picMkLst>
            <pc:docMk/>
            <pc:sldMk cId="245553637" sldId="269"/>
            <ac:picMk id="9" creationId="{7789CA92-C8A6-0A45-82FF-08CB96C867A2}"/>
          </ac:picMkLst>
        </pc:picChg>
        <pc:picChg chg="add mod modCrop">
          <ac:chgData name="Lena Mündel" userId="147c7959c6fcdb42" providerId="LiveId" clId="{965E4120-8743-3348-B1DE-B291230BB55E}" dt="2021-05-18T09:02:01.633" v="1334" actId="1035"/>
          <ac:picMkLst>
            <pc:docMk/>
            <pc:sldMk cId="245553637" sldId="269"/>
            <ac:picMk id="11" creationId="{AF228C95-F371-034C-BCBB-186453BE0DE5}"/>
          </ac:picMkLst>
        </pc:picChg>
        <pc:picChg chg="add mod modCrop">
          <ac:chgData name="Lena Mündel" userId="147c7959c6fcdb42" providerId="LiveId" clId="{965E4120-8743-3348-B1DE-B291230BB55E}" dt="2021-05-18T09:02:05.778" v="1337" actId="1036"/>
          <ac:picMkLst>
            <pc:docMk/>
            <pc:sldMk cId="245553637" sldId="269"/>
            <ac:picMk id="13" creationId="{7C5C19C7-3C2D-F44F-9FB8-5D179D3DFB2C}"/>
          </ac:picMkLst>
        </pc:picChg>
        <pc:picChg chg="mod">
          <ac:chgData name="Lena Mündel" userId="147c7959c6fcdb42" providerId="LiveId" clId="{965E4120-8743-3348-B1DE-B291230BB55E}" dt="2021-05-18T09:02:05.778" v="1337" actId="1036"/>
          <ac:picMkLst>
            <pc:docMk/>
            <pc:sldMk cId="245553637" sldId="269"/>
            <ac:picMk id="14" creationId="{8B952518-427B-47C7-AD2C-5DF93332F0F5}"/>
          </ac:picMkLst>
        </pc:picChg>
        <pc:picChg chg="add del mod modCrop">
          <ac:chgData name="Lena Mündel" userId="147c7959c6fcdb42" providerId="LiveId" clId="{965E4120-8743-3348-B1DE-B291230BB55E}" dt="2021-05-18T08:57:21.822" v="1199" actId="478"/>
          <ac:picMkLst>
            <pc:docMk/>
            <pc:sldMk cId="245553637" sldId="269"/>
            <ac:picMk id="19" creationId="{B741989F-4CD4-E84E-94BF-3FAF55D42948}"/>
          </ac:picMkLst>
        </pc:picChg>
        <pc:picChg chg="add mod modCrop">
          <ac:chgData name="Lena Mündel" userId="147c7959c6fcdb42" providerId="LiveId" clId="{965E4120-8743-3348-B1DE-B291230BB55E}" dt="2021-05-18T09:02:05.778" v="1337" actId="1036"/>
          <ac:picMkLst>
            <pc:docMk/>
            <pc:sldMk cId="245553637" sldId="269"/>
            <ac:picMk id="21" creationId="{0C53C75C-CFC8-1947-BF4A-76348948BEB6}"/>
          </ac:picMkLst>
        </pc:picChg>
        <pc:picChg chg="add mod">
          <ac:chgData name="Lena Mündel" userId="147c7959c6fcdb42" providerId="LiveId" clId="{965E4120-8743-3348-B1DE-B291230BB55E}" dt="2021-05-18T09:02:05.778" v="1337" actId="1036"/>
          <ac:picMkLst>
            <pc:docMk/>
            <pc:sldMk cId="245553637" sldId="269"/>
            <ac:picMk id="22" creationId="{DD285DCF-9E9D-A94A-87BD-71B03BD27D40}"/>
          </ac:picMkLst>
        </pc:picChg>
        <pc:picChg chg="mod">
          <ac:chgData name="Lena Mündel" userId="147c7959c6fcdb42" providerId="LiveId" clId="{965E4120-8743-3348-B1DE-B291230BB55E}" dt="2021-05-18T09:02:01.633" v="1334" actId="1035"/>
          <ac:picMkLst>
            <pc:docMk/>
            <pc:sldMk cId="245553637" sldId="269"/>
            <ac:picMk id="1027" creationId="{D03C6366-2D92-0048-93E2-5A7ED5904E64}"/>
          </ac:picMkLst>
        </pc:picChg>
      </pc:sldChg>
      <pc:sldChg chg="addSp delSp modSp mod">
        <pc:chgData name="Lena Mündel" userId="147c7959c6fcdb42" providerId="LiveId" clId="{965E4120-8743-3348-B1DE-B291230BB55E}" dt="2021-05-18T09:19:58.328" v="1555" actId="1076"/>
        <pc:sldMkLst>
          <pc:docMk/>
          <pc:sldMk cId="1670493753" sldId="270"/>
        </pc:sldMkLst>
        <pc:spChg chg="mod">
          <ac:chgData name="Lena Mündel" userId="147c7959c6fcdb42" providerId="LiveId" clId="{965E4120-8743-3348-B1DE-B291230BB55E}" dt="2021-05-18T09:19:58.328" v="1555" actId="1076"/>
          <ac:spMkLst>
            <pc:docMk/>
            <pc:sldMk cId="1670493753" sldId="270"/>
            <ac:spMk id="3" creationId="{8DF29B61-8FDA-4C96-9087-F31D51E40380}"/>
          </ac:spMkLst>
        </pc:spChg>
        <pc:spChg chg="mod topLvl">
          <ac:chgData name="Lena Mündel" userId="147c7959c6fcdb42" providerId="LiveId" clId="{965E4120-8743-3348-B1DE-B291230BB55E}" dt="2021-05-18T09:19:58.328" v="1555" actId="1076"/>
          <ac:spMkLst>
            <pc:docMk/>
            <pc:sldMk cId="1670493753" sldId="270"/>
            <ac:spMk id="41" creationId="{490874DD-DD9A-4D3E-97B6-7543C353CE44}"/>
          </ac:spMkLst>
        </pc:spChg>
        <pc:spChg chg="mod">
          <ac:chgData name="Lena Mündel" userId="147c7959c6fcdb42" providerId="LiveId" clId="{965E4120-8743-3348-B1DE-B291230BB55E}" dt="2021-05-18T09:19:50.266" v="1553" actId="12788"/>
          <ac:spMkLst>
            <pc:docMk/>
            <pc:sldMk cId="1670493753" sldId="270"/>
            <ac:spMk id="42" creationId="{3F934D5F-50D8-4474-B562-DF3FA4025E70}"/>
          </ac:spMkLst>
        </pc:spChg>
        <pc:spChg chg="mod">
          <ac:chgData name="Lena Mündel" userId="147c7959c6fcdb42" providerId="LiveId" clId="{965E4120-8743-3348-B1DE-B291230BB55E}" dt="2021-05-18T09:19:41.695" v="1551" actId="12788"/>
          <ac:spMkLst>
            <pc:docMk/>
            <pc:sldMk cId="1670493753" sldId="270"/>
            <ac:spMk id="43" creationId="{7A4D05A6-B9DD-457B-B540-D3FB1B2593E8}"/>
          </ac:spMkLst>
        </pc:spChg>
        <pc:spChg chg="mod">
          <ac:chgData name="Lena Mündel" userId="147c7959c6fcdb42" providerId="LiveId" clId="{965E4120-8743-3348-B1DE-B291230BB55E}" dt="2021-05-18T09:19:41.695" v="1551" actId="12788"/>
          <ac:spMkLst>
            <pc:docMk/>
            <pc:sldMk cId="1670493753" sldId="270"/>
            <ac:spMk id="46" creationId="{989B3F85-DEA4-4189-8B3E-9921F8A1EE88}"/>
          </ac:spMkLst>
        </pc:spChg>
        <pc:grpChg chg="add del mod">
          <ac:chgData name="Lena Mündel" userId="147c7959c6fcdb42" providerId="LiveId" clId="{965E4120-8743-3348-B1DE-B291230BB55E}" dt="2021-05-18T09:19:51.622" v="1554" actId="165"/>
          <ac:grpSpMkLst>
            <pc:docMk/>
            <pc:sldMk cId="1670493753" sldId="270"/>
            <ac:grpSpMk id="4" creationId="{DBDAB414-5CE1-7046-A172-AE6026564388}"/>
          </ac:grpSpMkLst>
        </pc:grpChg>
        <pc:picChg chg="mod topLvl">
          <ac:chgData name="Lena Mündel" userId="147c7959c6fcdb42" providerId="LiveId" clId="{965E4120-8743-3348-B1DE-B291230BB55E}" dt="2021-05-18T09:19:58.328" v="1555" actId="1076"/>
          <ac:picMkLst>
            <pc:docMk/>
            <pc:sldMk cId="1670493753" sldId="270"/>
            <ac:picMk id="7" creationId="{6DBA2AE9-1606-4F75-8504-042B2DF04DF5}"/>
          </ac:picMkLst>
        </pc:picChg>
        <pc:picChg chg="mod topLvl">
          <ac:chgData name="Lena Mündel" userId="147c7959c6fcdb42" providerId="LiveId" clId="{965E4120-8743-3348-B1DE-B291230BB55E}" dt="2021-05-18T09:19:58.328" v="1555" actId="1076"/>
          <ac:picMkLst>
            <pc:docMk/>
            <pc:sldMk cId="1670493753" sldId="270"/>
            <ac:picMk id="11" creationId="{DC89E92D-7004-4C75-B538-2BC0DBCE8827}"/>
          </ac:picMkLst>
        </pc:picChg>
        <pc:picChg chg="mod topLvl">
          <ac:chgData name="Lena Mündel" userId="147c7959c6fcdb42" providerId="LiveId" clId="{965E4120-8743-3348-B1DE-B291230BB55E}" dt="2021-05-18T09:19:58.328" v="1555" actId="1076"/>
          <ac:picMkLst>
            <pc:docMk/>
            <pc:sldMk cId="1670493753" sldId="270"/>
            <ac:picMk id="14" creationId="{519E1A57-A755-4B19-865B-7DC7542AD9E1}"/>
          </ac:picMkLst>
        </pc:picChg>
        <pc:picChg chg="mod topLvl">
          <ac:chgData name="Lena Mündel" userId="147c7959c6fcdb42" providerId="LiveId" clId="{965E4120-8743-3348-B1DE-B291230BB55E}" dt="2021-05-18T09:19:58.328" v="1555" actId="1076"/>
          <ac:picMkLst>
            <pc:docMk/>
            <pc:sldMk cId="1670493753" sldId="270"/>
            <ac:picMk id="17" creationId="{8C3A45F0-6BD5-4320-B6C1-635D282F1859}"/>
          </ac:picMkLst>
        </pc:picChg>
        <pc:picChg chg="mod">
          <ac:chgData name="Lena Mündel" userId="147c7959c6fcdb42" providerId="LiveId" clId="{965E4120-8743-3348-B1DE-B291230BB55E}" dt="2021-05-18T09:19:41.695" v="1551" actId="12788"/>
          <ac:picMkLst>
            <pc:docMk/>
            <pc:sldMk cId="1670493753" sldId="270"/>
            <ac:picMk id="45" creationId="{6D0BC859-6D03-4405-9CBF-2D1E681B0C06}"/>
          </ac:picMkLst>
        </pc:picChg>
        <pc:cxnChg chg="mod topLvl">
          <ac:chgData name="Lena Mündel" userId="147c7959c6fcdb42" providerId="LiveId" clId="{965E4120-8743-3348-B1DE-B291230BB55E}" dt="2021-05-18T09:19:58.328" v="1555" actId="1076"/>
          <ac:cxnSpMkLst>
            <pc:docMk/>
            <pc:sldMk cId="1670493753" sldId="270"/>
            <ac:cxnSpMk id="25" creationId="{C0F56A88-1F70-4EAC-AC38-0F3663878D4F}"/>
          </ac:cxnSpMkLst>
        </pc:cxnChg>
        <pc:cxnChg chg="mod topLvl">
          <ac:chgData name="Lena Mündel" userId="147c7959c6fcdb42" providerId="LiveId" clId="{965E4120-8743-3348-B1DE-B291230BB55E}" dt="2021-05-18T09:19:58.328" v="1555" actId="1076"/>
          <ac:cxnSpMkLst>
            <pc:docMk/>
            <pc:sldMk cId="1670493753" sldId="270"/>
            <ac:cxnSpMk id="29" creationId="{801EEF1C-FA28-4F79-970D-276497BF2DBF}"/>
          </ac:cxnSpMkLst>
        </pc:cxnChg>
        <pc:cxnChg chg="mod topLvl">
          <ac:chgData name="Lena Mündel" userId="147c7959c6fcdb42" providerId="LiveId" clId="{965E4120-8743-3348-B1DE-B291230BB55E}" dt="2021-05-18T09:19:58.328" v="1555" actId="1076"/>
          <ac:cxnSpMkLst>
            <pc:docMk/>
            <pc:sldMk cId="1670493753" sldId="270"/>
            <ac:cxnSpMk id="31" creationId="{03534D3E-5CE3-4A0A-9532-9C30C698414A}"/>
          </ac:cxnSpMkLst>
        </pc:cxnChg>
        <pc:cxnChg chg="mod">
          <ac:chgData name="Lena Mündel" userId="147c7959c6fcdb42" providerId="LiveId" clId="{965E4120-8743-3348-B1DE-B291230BB55E}" dt="2021-05-18T09:19:34.615" v="1550" actId="12788"/>
          <ac:cxnSpMkLst>
            <pc:docMk/>
            <pc:sldMk cId="1670493753" sldId="270"/>
            <ac:cxnSpMk id="44" creationId="{D03DF63D-8E00-4EA7-A23D-D245A70B1825}"/>
          </ac:cxnSpMkLst>
        </pc:cxnChg>
      </pc:sldChg>
      <pc:sldChg chg="addSp modSp add mod modShow">
        <pc:chgData name="Lena Mündel" userId="147c7959c6fcdb42" providerId="LiveId" clId="{965E4120-8743-3348-B1DE-B291230BB55E}" dt="2021-05-18T09:16:01.941" v="1497" actId="1037"/>
        <pc:sldMkLst>
          <pc:docMk/>
          <pc:sldMk cId="1556841118" sldId="271"/>
        </pc:sldMkLst>
        <pc:spChg chg="mod">
          <ac:chgData name="Lena Mündel" userId="147c7959c6fcdb42" providerId="LiveId" clId="{965E4120-8743-3348-B1DE-B291230BB55E}" dt="2021-05-18T09:13:11.698" v="1445"/>
          <ac:spMkLst>
            <pc:docMk/>
            <pc:sldMk cId="1556841118" sldId="271"/>
            <ac:spMk id="2" creationId="{A251D07B-366F-4FBC-AD99-896DBDA74BD1}"/>
          </ac:spMkLst>
        </pc:spChg>
        <pc:spChg chg="mod">
          <ac:chgData name="Lena Mündel" userId="147c7959c6fcdb42" providerId="LiveId" clId="{965E4120-8743-3348-B1DE-B291230BB55E}" dt="2021-05-18T09:13:11.701" v="1446"/>
          <ac:spMkLst>
            <pc:docMk/>
            <pc:sldMk cId="1556841118" sldId="271"/>
            <ac:spMk id="3" creationId="{566CB437-0D4E-43C2-A1B3-59834EEB8261}"/>
          </ac:spMkLst>
        </pc:spChg>
        <pc:spChg chg="mod">
          <ac:chgData name="Lena Mündel" userId="147c7959c6fcdb42" providerId="LiveId" clId="{965E4120-8743-3348-B1DE-B291230BB55E}" dt="2021-05-18T09:13:11.702" v="1447"/>
          <ac:spMkLst>
            <pc:docMk/>
            <pc:sldMk cId="1556841118" sldId="271"/>
            <ac:spMk id="4" creationId="{D19921C1-78C0-42EB-8473-ED01ECD69925}"/>
          </ac:spMkLst>
        </pc:spChg>
        <pc:spChg chg="mod">
          <ac:chgData name="Lena Mündel" userId="147c7959c6fcdb42" providerId="LiveId" clId="{965E4120-8743-3348-B1DE-B291230BB55E}" dt="2021-05-18T09:13:36.219" v="1480" actId="12789"/>
          <ac:spMkLst>
            <pc:docMk/>
            <pc:sldMk cId="1556841118" sldId="271"/>
            <ac:spMk id="10" creationId="{8E719218-D015-448A-82BB-847EE5F5FC36}"/>
          </ac:spMkLst>
        </pc:spChg>
        <pc:spChg chg="mod">
          <ac:chgData name="Lena Mündel" userId="147c7959c6fcdb42" providerId="LiveId" clId="{965E4120-8743-3348-B1DE-B291230BB55E}" dt="2021-05-18T09:13:11.706" v="1449"/>
          <ac:spMkLst>
            <pc:docMk/>
            <pc:sldMk cId="1556841118" sldId="271"/>
            <ac:spMk id="11" creationId="{DA204BB5-7F5B-4CBC-A8BE-05C9171F391A}"/>
          </ac:spMkLst>
        </pc:spChg>
        <pc:spChg chg="mod">
          <ac:chgData name="Lena Mündel" userId="147c7959c6fcdb42" providerId="LiveId" clId="{965E4120-8743-3348-B1DE-B291230BB55E}" dt="2021-05-18T09:13:11.708" v="1450"/>
          <ac:spMkLst>
            <pc:docMk/>
            <pc:sldMk cId="1556841118" sldId="271"/>
            <ac:spMk id="12" creationId="{5A99D72E-5F89-45EA-A616-3B55C514B9DB}"/>
          </ac:spMkLst>
        </pc:spChg>
        <pc:spChg chg="mod">
          <ac:chgData name="Lena Mündel" userId="147c7959c6fcdb42" providerId="LiveId" clId="{965E4120-8743-3348-B1DE-B291230BB55E}" dt="2021-05-18T09:13:41.666" v="1481" actId="12789"/>
          <ac:spMkLst>
            <pc:docMk/>
            <pc:sldMk cId="1556841118" sldId="271"/>
            <ac:spMk id="13" creationId="{C879D979-8760-4086-A076-8922660BFB46}"/>
          </ac:spMkLst>
        </pc:spChg>
        <pc:spChg chg="add mod">
          <ac:chgData name="Lena Mündel" userId="147c7959c6fcdb42" providerId="LiveId" clId="{965E4120-8743-3348-B1DE-B291230BB55E}" dt="2021-05-18T09:13:49.854" v="1482" actId="12788"/>
          <ac:spMkLst>
            <pc:docMk/>
            <pc:sldMk cId="1556841118" sldId="271"/>
            <ac:spMk id="18" creationId="{2885C03D-BC2B-EC44-AF57-7C565C8B2C82}"/>
          </ac:spMkLst>
        </pc:spChg>
        <pc:spChg chg="add mod">
          <ac:chgData name="Lena Mündel" userId="147c7959c6fcdb42" providerId="LiveId" clId="{965E4120-8743-3348-B1DE-B291230BB55E}" dt="2021-05-18T09:13:49.854" v="1482" actId="12788"/>
          <ac:spMkLst>
            <pc:docMk/>
            <pc:sldMk cId="1556841118" sldId="271"/>
            <ac:spMk id="19" creationId="{2BEF5412-5EEC-6440-81AD-7AF08F641FBA}"/>
          </ac:spMkLst>
        </pc:spChg>
        <pc:spChg chg="add mod">
          <ac:chgData name="Lena Mündel" userId="147c7959c6fcdb42" providerId="LiveId" clId="{965E4120-8743-3348-B1DE-B291230BB55E}" dt="2021-05-18T09:16:01.941" v="1497" actId="1037"/>
          <ac:spMkLst>
            <pc:docMk/>
            <pc:sldMk cId="1556841118" sldId="271"/>
            <ac:spMk id="20" creationId="{6363BEAB-8FE3-5948-A191-905BA5BF0F7C}"/>
          </ac:spMkLst>
        </pc:spChg>
        <pc:spChg chg="add mod">
          <ac:chgData name="Lena Mündel" userId="147c7959c6fcdb42" providerId="LiveId" clId="{965E4120-8743-3348-B1DE-B291230BB55E}" dt="2021-05-18T09:16:01.941" v="1497" actId="1037"/>
          <ac:spMkLst>
            <pc:docMk/>
            <pc:sldMk cId="1556841118" sldId="271"/>
            <ac:spMk id="21" creationId="{803E905D-BBAB-A74F-BA25-03F9227920E3}"/>
          </ac:spMkLst>
        </pc:spChg>
        <pc:graphicFrameChg chg="add mod modVis">
          <ac:chgData name="Lena Mündel" userId="147c7959c6fcdb42" providerId="LiveId" clId="{965E4120-8743-3348-B1DE-B291230BB55E}" dt="2021-05-18T09:13:11.818" v="1474"/>
          <ac:graphicFrameMkLst>
            <pc:docMk/>
            <pc:sldMk cId="1556841118" sldId="271"/>
            <ac:graphicFrameMk id="22" creationId="{EEAFD5A9-0D08-1246-B172-4DC1CB19B387}"/>
          </ac:graphicFrameMkLst>
        </pc:graphicFrameChg>
        <pc:picChg chg="add mod">
          <ac:chgData name="Lena Mündel" userId="147c7959c6fcdb42" providerId="LiveId" clId="{965E4120-8743-3348-B1DE-B291230BB55E}" dt="2021-05-18T09:13:49.854" v="1482" actId="12788"/>
          <ac:picMkLst>
            <pc:docMk/>
            <pc:sldMk cId="1556841118" sldId="271"/>
            <ac:picMk id="6" creationId="{40D5E138-18A3-C742-807D-814822051A39}"/>
          </ac:picMkLst>
        </pc:picChg>
        <pc:picChg chg="add mod">
          <ac:chgData name="Lena Mündel" userId="147c7959c6fcdb42" providerId="LiveId" clId="{965E4120-8743-3348-B1DE-B291230BB55E}" dt="2021-05-18T09:16:01.941" v="1497" actId="1037"/>
          <ac:picMkLst>
            <pc:docMk/>
            <pc:sldMk cId="1556841118" sldId="271"/>
            <ac:picMk id="8" creationId="{17C687DB-863B-1249-B4E1-B7DE9C6080BA}"/>
          </ac:picMkLst>
        </pc:picChg>
        <pc:picChg chg="add mod">
          <ac:chgData name="Lena Mündel" userId="147c7959c6fcdb42" providerId="LiveId" clId="{965E4120-8743-3348-B1DE-B291230BB55E}" dt="2021-05-18T09:13:49.854" v="1482" actId="12788"/>
          <ac:picMkLst>
            <pc:docMk/>
            <pc:sldMk cId="1556841118" sldId="271"/>
            <ac:picMk id="14" creationId="{78DD7296-63BB-DC4D-A145-5294F1D095BF}"/>
          </ac:picMkLst>
        </pc:picChg>
        <pc:picChg chg="mod">
          <ac:chgData name="Lena Mündel" userId="147c7959c6fcdb42" providerId="LiveId" clId="{965E4120-8743-3348-B1DE-B291230BB55E}" dt="2021-05-18T09:15:23.982" v="1493"/>
          <ac:picMkLst>
            <pc:docMk/>
            <pc:sldMk cId="1556841118" sldId="271"/>
            <ac:picMk id="15" creationId="{AB3858DD-B51E-4C14-9BB8-FBA2E7B2DC1E}"/>
          </ac:picMkLst>
        </pc:picChg>
        <pc:picChg chg="add mod">
          <ac:chgData name="Lena Mündel" userId="147c7959c6fcdb42" providerId="LiveId" clId="{965E4120-8743-3348-B1DE-B291230BB55E}" dt="2021-05-18T09:16:01.941" v="1497" actId="1037"/>
          <ac:picMkLst>
            <pc:docMk/>
            <pc:sldMk cId="1556841118" sldId="271"/>
            <ac:picMk id="17" creationId="{99A7F4DA-CC10-C044-B8FC-15B25CB72087}"/>
          </ac:picMkLst>
        </pc:picChg>
        <pc:picChg chg="add mod">
          <ac:chgData name="Lena Mündel" userId="147c7959c6fcdb42" providerId="LiveId" clId="{965E4120-8743-3348-B1DE-B291230BB55E}" dt="2021-05-18T09:14:23.193" v="1489" actId="571"/>
          <ac:picMkLst>
            <pc:docMk/>
            <pc:sldMk cId="1556841118" sldId="271"/>
            <ac:picMk id="23" creationId="{9ADD2CD8-67AD-3549-8669-C1F756182D7D}"/>
          </ac:picMkLst>
        </pc:picChg>
      </pc:sldChg>
      <pc:sldMasterChg chg="modSldLayout">
        <pc:chgData name="Lena Mündel" userId="147c7959c6fcdb42" providerId="LiveId" clId="{965E4120-8743-3348-B1DE-B291230BB55E}" dt="2021-05-18T08:37:52.873" v="969"/>
        <pc:sldMasterMkLst>
          <pc:docMk/>
          <pc:sldMasterMk cId="2969229741" sldId="2147483648"/>
        </pc:sldMasterMkLst>
        <pc:sldLayoutChg chg="addSp modSp">
          <pc:chgData name="Lena Mündel" userId="147c7959c6fcdb42" providerId="LiveId" clId="{965E4120-8743-3348-B1DE-B291230BB55E}" dt="2021-05-18T08:37:24.550" v="961" actId="1038"/>
          <pc:sldLayoutMkLst>
            <pc:docMk/>
            <pc:sldMasterMk cId="2969229741" sldId="2147483648"/>
            <pc:sldLayoutMk cId="1608224328" sldId="2147483654"/>
          </pc:sldLayoutMkLst>
          <pc:picChg chg="add mod">
            <ac:chgData name="Lena Mündel" userId="147c7959c6fcdb42" providerId="LiveId" clId="{965E4120-8743-3348-B1DE-B291230BB55E}" dt="2021-05-18T08:37:18.793" v="956" actId="12789"/>
            <ac:picMkLst>
              <pc:docMk/>
              <pc:sldMasterMk cId="2969229741" sldId="2147483648"/>
              <pc:sldLayoutMk cId="1608224328" sldId="2147483654"/>
              <ac:picMk id="11" creationId="{F53507FF-048E-3247-9C5E-EC855E05650D}"/>
            </ac:picMkLst>
          </pc:picChg>
          <pc:picChg chg="add mod">
            <ac:chgData name="Lena Mündel" userId="147c7959c6fcdb42" providerId="LiveId" clId="{965E4120-8743-3348-B1DE-B291230BB55E}" dt="2021-05-18T08:37:24.550" v="961" actId="1038"/>
            <ac:picMkLst>
              <pc:docMk/>
              <pc:sldMasterMk cId="2969229741" sldId="2147483648"/>
              <pc:sldLayoutMk cId="1608224328" sldId="2147483654"/>
              <ac:picMk id="12" creationId="{0B1B0D94-D6E6-5F41-9F72-362F9CCFD07D}"/>
            </ac:picMkLst>
          </pc:picChg>
        </pc:sldLayoutChg>
        <pc:sldLayoutChg chg="delSp mod">
          <pc:chgData name="Lena Mündel" userId="147c7959c6fcdb42" providerId="LiveId" clId="{965E4120-8743-3348-B1DE-B291230BB55E}" dt="2021-05-15T11:52:51.434" v="2" actId="478"/>
          <pc:sldLayoutMkLst>
            <pc:docMk/>
            <pc:sldMasterMk cId="2969229741" sldId="2147483648"/>
            <pc:sldLayoutMk cId="466470504" sldId="2147483718"/>
          </pc:sldLayoutMkLst>
          <pc:picChg chg="del">
            <ac:chgData name="Lena Mündel" userId="147c7959c6fcdb42" providerId="LiveId" clId="{965E4120-8743-3348-B1DE-B291230BB55E}" dt="2021-05-15T11:52:51.434" v="2" actId="478"/>
            <ac:picMkLst>
              <pc:docMk/>
              <pc:sldMasterMk cId="2969229741" sldId="2147483648"/>
              <pc:sldLayoutMk cId="466470504" sldId="2147483718"/>
              <ac:picMk id="9" creationId="{7C3A32BD-483D-48A2-B0AF-7A5223571242}"/>
            </ac:picMkLst>
          </pc:picChg>
        </pc:sldLayoutChg>
        <pc:sldLayoutChg chg="delSp mod">
          <pc:chgData name="Lena Mündel" userId="147c7959c6fcdb42" providerId="LiveId" clId="{965E4120-8743-3348-B1DE-B291230BB55E}" dt="2021-05-15T11:52:48.223" v="1" actId="478"/>
          <pc:sldLayoutMkLst>
            <pc:docMk/>
            <pc:sldMasterMk cId="2969229741" sldId="2147483648"/>
            <pc:sldLayoutMk cId="3543058118" sldId="2147483794"/>
          </pc:sldLayoutMkLst>
          <pc:spChg chg="del">
            <ac:chgData name="Lena Mündel" userId="147c7959c6fcdb42" providerId="LiveId" clId="{965E4120-8743-3348-B1DE-B291230BB55E}" dt="2021-05-15T11:52:48.223" v="1" actId="478"/>
            <ac:spMkLst>
              <pc:docMk/>
              <pc:sldMasterMk cId="2969229741" sldId="2147483648"/>
              <pc:sldLayoutMk cId="3543058118" sldId="2147483794"/>
              <ac:spMk id="19" creationId="{FB7A54AC-E14F-4BA1-B48F-5284B039668B}"/>
            </ac:spMkLst>
          </pc:spChg>
          <pc:picChg chg="del">
            <ac:chgData name="Lena Mündel" userId="147c7959c6fcdb42" providerId="LiveId" clId="{965E4120-8743-3348-B1DE-B291230BB55E}" dt="2021-05-15T11:52:45.371" v="0" actId="478"/>
            <ac:picMkLst>
              <pc:docMk/>
              <pc:sldMasterMk cId="2969229741" sldId="2147483648"/>
              <pc:sldLayoutMk cId="3543058118" sldId="2147483794"/>
              <ac:picMk id="16" creationId="{B217107C-D279-4D90-AB38-6A6D6782398B}"/>
            </ac:picMkLst>
          </pc:picChg>
        </pc:sldLayoutChg>
        <pc:sldLayoutChg chg="addSp modSp">
          <pc:chgData name="Lena Mündel" userId="147c7959c6fcdb42" providerId="LiveId" clId="{965E4120-8743-3348-B1DE-B291230BB55E}" dt="2021-05-18T08:37:49.706" v="968"/>
          <pc:sldLayoutMkLst>
            <pc:docMk/>
            <pc:sldMasterMk cId="2969229741" sldId="2147483648"/>
            <pc:sldLayoutMk cId="3079707490" sldId="2147483800"/>
          </pc:sldLayoutMkLst>
          <pc:picChg chg="add mod">
            <ac:chgData name="Lena Mündel" userId="147c7959c6fcdb42" providerId="LiveId" clId="{965E4120-8743-3348-B1DE-B291230BB55E}" dt="2021-05-18T08:37:49.706" v="968"/>
            <ac:picMkLst>
              <pc:docMk/>
              <pc:sldMasterMk cId="2969229741" sldId="2147483648"/>
              <pc:sldLayoutMk cId="3079707490" sldId="2147483800"/>
              <ac:picMk id="7" creationId="{7A6BCCD4-2B76-5142-8136-0A3EF601B4AB}"/>
            </ac:picMkLst>
          </pc:picChg>
          <pc:picChg chg="add mod">
            <ac:chgData name="Lena Mündel" userId="147c7959c6fcdb42" providerId="LiveId" clId="{965E4120-8743-3348-B1DE-B291230BB55E}" dt="2021-05-18T08:37:49.706" v="968"/>
            <ac:picMkLst>
              <pc:docMk/>
              <pc:sldMasterMk cId="2969229741" sldId="2147483648"/>
              <pc:sldLayoutMk cId="3079707490" sldId="2147483800"/>
              <ac:picMk id="10" creationId="{0B746D77-2B72-E04D-A87A-7A45BE4408B5}"/>
            </ac:picMkLst>
          </pc:picChg>
        </pc:sldLayoutChg>
        <pc:sldLayoutChg chg="addSp modSp">
          <pc:chgData name="Lena Mündel" userId="147c7959c6fcdb42" providerId="LiveId" clId="{965E4120-8743-3348-B1DE-B291230BB55E}" dt="2021-05-18T08:37:32.763" v="964"/>
          <pc:sldLayoutMkLst>
            <pc:docMk/>
            <pc:sldMasterMk cId="2969229741" sldId="2147483648"/>
            <pc:sldLayoutMk cId="605467897" sldId="2147483805"/>
          </pc:sldLayoutMkLst>
          <pc:picChg chg="add mod">
            <ac:chgData name="Lena Mündel" userId="147c7959c6fcdb42" providerId="LiveId" clId="{965E4120-8743-3348-B1DE-B291230BB55E}" dt="2021-05-18T08:37:32.763" v="964"/>
            <ac:picMkLst>
              <pc:docMk/>
              <pc:sldMasterMk cId="2969229741" sldId="2147483648"/>
              <pc:sldLayoutMk cId="605467897" sldId="2147483805"/>
              <ac:picMk id="17" creationId="{EDC2DF18-A04C-7143-AA0D-CB63F77BEF5A}"/>
            </ac:picMkLst>
          </pc:picChg>
          <pc:picChg chg="add mod">
            <ac:chgData name="Lena Mündel" userId="147c7959c6fcdb42" providerId="LiveId" clId="{965E4120-8743-3348-B1DE-B291230BB55E}" dt="2021-05-18T08:37:32.763" v="964"/>
            <ac:picMkLst>
              <pc:docMk/>
              <pc:sldMasterMk cId="2969229741" sldId="2147483648"/>
              <pc:sldLayoutMk cId="605467897" sldId="2147483805"/>
              <ac:picMk id="21" creationId="{7906053D-3CE8-7846-8ED8-64D62299CB90}"/>
            </ac:picMkLst>
          </pc:picChg>
        </pc:sldLayoutChg>
        <pc:sldLayoutChg chg="addSp modSp">
          <pc:chgData name="Lena Mündel" userId="147c7959c6fcdb42" providerId="LiveId" clId="{965E4120-8743-3348-B1DE-B291230BB55E}" dt="2021-05-18T08:37:34.166" v="965"/>
          <pc:sldLayoutMkLst>
            <pc:docMk/>
            <pc:sldMasterMk cId="2969229741" sldId="2147483648"/>
            <pc:sldLayoutMk cId="3911390954" sldId="2147483806"/>
          </pc:sldLayoutMkLst>
          <pc:picChg chg="add mod">
            <ac:chgData name="Lena Mündel" userId="147c7959c6fcdb42" providerId="LiveId" clId="{965E4120-8743-3348-B1DE-B291230BB55E}" dt="2021-05-18T08:37:34.166" v="965"/>
            <ac:picMkLst>
              <pc:docMk/>
              <pc:sldMasterMk cId="2969229741" sldId="2147483648"/>
              <pc:sldLayoutMk cId="3911390954" sldId="2147483806"/>
              <ac:picMk id="15" creationId="{FDAEF03A-5900-6940-A614-635AA6D933BC}"/>
            </ac:picMkLst>
          </pc:picChg>
          <pc:picChg chg="add mod">
            <ac:chgData name="Lena Mündel" userId="147c7959c6fcdb42" providerId="LiveId" clId="{965E4120-8743-3348-B1DE-B291230BB55E}" dt="2021-05-18T08:37:34.166" v="965"/>
            <ac:picMkLst>
              <pc:docMk/>
              <pc:sldMasterMk cId="2969229741" sldId="2147483648"/>
              <pc:sldLayoutMk cId="3911390954" sldId="2147483806"/>
              <ac:picMk id="16" creationId="{4E2921FF-1C5E-F747-8380-D014E370873B}"/>
            </ac:picMkLst>
          </pc:picChg>
        </pc:sldLayoutChg>
        <pc:sldLayoutChg chg="addSp modSp">
          <pc:chgData name="Lena Mündel" userId="147c7959c6fcdb42" providerId="LiveId" clId="{965E4120-8743-3348-B1DE-B291230BB55E}" dt="2021-05-18T08:37:52.873" v="969"/>
          <pc:sldLayoutMkLst>
            <pc:docMk/>
            <pc:sldMasterMk cId="2969229741" sldId="2147483648"/>
            <pc:sldLayoutMk cId="3852498680" sldId="2147483807"/>
          </pc:sldLayoutMkLst>
          <pc:picChg chg="add mod">
            <ac:chgData name="Lena Mündel" userId="147c7959c6fcdb42" providerId="LiveId" clId="{965E4120-8743-3348-B1DE-B291230BB55E}" dt="2021-05-18T08:37:52.873" v="969"/>
            <ac:picMkLst>
              <pc:docMk/>
              <pc:sldMasterMk cId="2969229741" sldId="2147483648"/>
              <pc:sldLayoutMk cId="3852498680" sldId="2147483807"/>
              <ac:picMk id="8" creationId="{FE427B76-2727-5643-B09F-B254EE90053A}"/>
            </ac:picMkLst>
          </pc:picChg>
          <pc:picChg chg="add mod">
            <ac:chgData name="Lena Mündel" userId="147c7959c6fcdb42" providerId="LiveId" clId="{965E4120-8743-3348-B1DE-B291230BB55E}" dt="2021-05-18T08:37:52.873" v="969"/>
            <ac:picMkLst>
              <pc:docMk/>
              <pc:sldMasterMk cId="2969229741" sldId="2147483648"/>
              <pc:sldLayoutMk cId="3852498680" sldId="2147483807"/>
              <ac:picMk id="9" creationId="{F94D8EAD-41CB-474C-94DA-7E9CD9084BA7}"/>
            </ac:picMkLst>
          </pc:picChg>
        </pc:sldLayoutChg>
        <pc:sldLayoutChg chg="addSp modSp">
          <pc:chgData name="Lena Mündel" userId="147c7959c6fcdb42" providerId="LiveId" clId="{965E4120-8743-3348-B1DE-B291230BB55E}" dt="2021-05-18T08:37:31.584" v="963"/>
          <pc:sldLayoutMkLst>
            <pc:docMk/>
            <pc:sldMasterMk cId="2969229741" sldId="2147483648"/>
            <pc:sldLayoutMk cId="2692910053" sldId="2147483856"/>
          </pc:sldLayoutMkLst>
          <pc:picChg chg="add mod">
            <ac:chgData name="Lena Mündel" userId="147c7959c6fcdb42" providerId="LiveId" clId="{965E4120-8743-3348-B1DE-B291230BB55E}" dt="2021-05-18T08:37:31.584" v="963"/>
            <ac:picMkLst>
              <pc:docMk/>
              <pc:sldMasterMk cId="2969229741" sldId="2147483648"/>
              <pc:sldLayoutMk cId="2692910053" sldId="2147483856"/>
              <ac:picMk id="15" creationId="{612C360F-05F8-4843-B2A3-8276079CE8B7}"/>
            </ac:picMkLst>
          </pc:picChg>
          <pc:picChg chg="add mod">
            <ac:chgData name="Lena Mündel" userId="147c7959c6fcdb42" providerId="LiveId" clId="{965E4120-8743-3348-B1DE-B291230BB55E}" dt="2021-05-18T08:37:31.584" v="963"/>
            <ac:picMkLst>
              <pc:docMk/>
              <pc:sldMasterMk cId="2969229741" sldId="2147483648"/>
              <pc:sldLayoutMk cId="2692910053" sldId="2147483856"/>
              <ac:picMk id="16" creationId="{0D1402CD-BA8B-BC4A-A326-46DDCD77A7FA}"/>
            </ac:picMkLst>
          </pc:picChg>
        </pc:sldLayoutChg>
        <pc:sldLayoutChg chg="addSp modSp">
          <pc:chgData name="Lena Mündel" userId="147c7959c6fcdb42" providerId="LiveId" clId="{965E4120-8743-3348-B1DE-B291230BB55E}" dt="2021-05-18T08:37:30.714" v="962"/>
          <pc:sldLayoutMkLst>
            <pc:docMk/>
            <pc:sldMasterMk cId="2969229741" sldId="2147483648"/>
            <pc:sldLayoutMk cId="2470369557" sldId="2147483860"/>
          </pc:sldLayoutMkLst>
          <pc:picChg chg="add mod">
            <ac:chgData name="Lena Mündel" userId="147c7959c6fcdb42" providerId="LiveId" clId="{965E4120-8743-3348-B1DE-B291230BB55E}" dt="2021-05-18T08:37:30.714" v="962"/>
            <ac:picMkLst>
              <pc:docMk/>
              <pc:sldMasterMk cId="2969229741" sldId="2147483648"/>
              <pc:sldLayoutMk cId="2470369557" sldId="2147483860"/>
              <ac:picMk id="15" creationId="{DBFB5C31-984D-074E-9CE0-5C4A3B689772}"/>
            </ac:picMkLst>
          </pc:picChg>
          <pc:picChg chg="add mod">
            <ac:chgData name="Lena Mündel" userId="147c7959c6fcdb42" providerId="LiveId" clId="{965E4120-8743-3348-B1DE-B291230BB55E}" dt="2021-05-18T08:37:30.714" v="962"/>
            <ac:picMkLst>
              <pc:docMk/>
              <pc:sldMasterMk cId="2969229741" sldId="2147483648"/>
              <pc:sldLayoutMk cId="2470369557" sldId="2147483860"/>
              <ac:picMk id="16" creationId="{1654AA66-F005-EF4D-8DDB-39247EB5FFE6}"/>
            </ac:picMkLst>
          </pc:picChg>
        </pc:sldLayoutChg>
        <pc:sldLayoutChg chg="addSp modSp">
          <pc:chgData name="Lena Mündel" userId="147c7959c6fcdb42" providerId="LiveId" clId="{965E4120-8743-3348-B1DE-B291230BB55E}" dt="2021-05-18T08:37:44.655" v="967"/>
          <pc:sldLayoutMkLst>
            <pc:docMk/>
            <pc:sldMasterMk cId="2969229741" sldId="2147483648"/>
            <pc:sldLayoutMk cId="3977499301" sldId="2147483879"/>
          </pc:sldLayoutMkLst>
          <pc:picChg chg="add mod">
            <ac:chgData name="Lena Mündel" userId="147c7959c6fcdb42" providerId="LiveId" clId="{965E4120-8743-3348-B1DE-B291230BB55E}" dt="2021-05-18T08:37:44.655" v="967"/>
            <ac:picMkLst>
              <pc:docMk/>
              <pc:sldMasterMk cId="2969229741" sldId="2147483648"/>
              <pc:sldLayoutMk cId="3977499301" sldId="2147483879"/>
              <ac:picMk id="8" creationId="{2D194293-32BB-8A40-B1A9-FDB11D5FA693}"/>
            </ac:picMkLst>
          </pc:picChg>
          <pc:picChg chg="add mod">
            <ac:chgData name="Lena Mündel" userId="147c7959c6fcdb42" providerId="LiveId" clId="{965E4120-8743-3348-B1DE-B291230BB55E}" dt="2021-05-18T08:37:44.655" v="967"/>
            <ac:picMkLst>
              <pc:docMk/>
              <pc:sldMasterMk cId="2969229741" sldId="2147483648"/>
              <pc:sldLayoutMk cId="3977499301" sldId="2147483879"/>
              <ac:picMk id="9" creationId="{8222251E-4CAD-6F4B-A897-EA41677EFB47}"/>
            </ac:picMkLst>
          </pc:picChg>
        </pc:sldLayoutChg>
        <pc:sldLayoutChg chg="addSp modSp">
          <pc:chgData name="Lena Mündel" userId="147c7959c6fcdb42" providerId="LiveId" clId="{965E4120-8743-3348-B1DE-B291230BB55E}" dt="2021-05-18T08:37:37.379" v="966"/>
          <pc:sldLayoutMkLst>
            <pc:docMk/>
            <pc:sldMasterMk cId="2969229741" sldId="2147483648"/>
            <pc:sldLayoutMk cId="1470861532" sldId="2147483882"/>
          </pc:sldLayoutMkLst>
          <pc:picChg chg="add mod">
            <ac:chgData name="Lena Mündel" userId="147c7959c6fcdb42" providerId="LiveId" clId="{965E4120-8743-3348-B1DE-B291230BB55E}" dt="2021-05-18T08:37:37.379" v="966"/>
            <ac:picMkLst>
              <pc:docMk/>
              <pc:sldMasterMk cId="2969229741" sldId="2147483648"/>
              <pc:sldLayoutMk cId="1470861532" sldId="2147483882"/>
              <ac:picMk id="14" creationId="{8B64753C-D03B-C546-8C98-4279DED30C1A}"/>
            </ac:picMkLst>
          </pc:picChg>
          <pc:picChg chg="add mod">
            <ac:chgData name="Lena Mündel" userId="147c7959c6fcdb42" providerId="LiveId" clId="{965E4120-8743-3348-B1DE-B291230BB55E}" dt="2021-05-18T08:37:37.379" v="966"/>
            <ac:picMkLst>
              <pc:docMk/>
              <pc:sldMasterMk cId="2969229741" sldId="2147483648"/>
              <pc:sldLayoutMk cId="1470861532" sldId="2147483882"/>
              <ac:picMk id="16" creationId="{D829463E-09A4-6F41-BFA8-23C291564183}"/>
            </ac:picMkLst>
          </pc:picChg>
        </pc:sldLayoutChg>
      </pc:sldMasterChg>
      <pc:sldMasterChg chg="del delSldLayout modSldLayout">
        <pc:chgData name="Lena Mündel" userId="147c7959c6fcdb42" providerId="LiveId" clId="{965E4120-8743-3348-B1DE-B291230BB55E}" dt="2021-05-15T11:53:12.638" v="22" actId="2696"/>
        <pc:sldMasterMkLst>
          <pc:docMk/>
          <pc:sldMasterMk cId="3386525249" sldId="2147483864"/>
        </pc:sldMasterMkLst>
        <pc:sldLayoutChg chg="delSp del mod">
          <pc:chgData name="Lena Mündel" userId="147c7959c6fcdb42" providerId="LiveId" clId="{965E4120-8743-3348-B1DE-B291230BB55E}" dt="2021-05-15T11:53:12.464" v="8" actId="2696"/>
          <pc:sldLayoutMkLst>
            <pc:docMk/>
            <pc:sldMasterMk cId="3386525249" sldId="2147483864"/>
            <pc:sldLayoutMk cId="2688593317" sldId="2147483865"/>
          </pc:sldLayoutMkLst>
          <pc:spChg chg="del">
            <ac:chgData name="Lena Mündel" userId="147c7959c6fcdb42" providerId="LiveId" clId="{965E4120-8743-3348-B1DE-B291230BB55E}" dt="2021-05-15T11:52:59.927" v="5" actId="478"/>
            <ac:spMkLst>
              <pc:docMk/>
              <pc:sldMasterMk cId="3386525249" sldId="2147483864"/>
              <pc:sldLayoutMk cId="2688593317" sldId="2147483865"/>
              <ac:spMk id="25" creationId="{365FDE2E-B4AC-48A0-8D5A-94F648AEA896}"/>
            </ac:spMkLst>
          </pc:spChg>
          <pc:grpChg chg="del">
            <ac:chgData name="Lena Mündel" userId="147c7959c6fcdb42" providerId="LiveId" clId="{965E4120-8743-3348-B1DE-B291230BB55E}" dt="2021-05-15T11:52:56.182" v="4" actId="478"/>
            <ac:grpSpMkLst>
              <pc:docMk/>
              <pc:sldMasterMk cId="3386525249" sldId="2147483864"/>
              <pc:sldLayoutMk cId="2688593317" sldId="2147483865"/>
              <ac:grpSpMk id="16" creationId="{417D7FAF-35B8-4173-88FB-739B21C6DEBE}"/>
            </ac:grpSpMkLst>
          </pc:grpChg>
          <pc:picChg chg="del">
            <ac:chgData name="Lena Mündel" userId="147c7959c6fcdb42" providerId="LiveId" clId="{965E4120-8743-3348-B1DE-B291230BB55E}" dt="2021-05-15T11:52:55.404" v="3" actId="478"/>
            <ac:picMkLst>
              <pc:docMk/>
              <pc:sldMasterMk cId="3386525249" sldId="2147483864"/>
              <pc:sldLayoutMk cId="2688593317" sldId="2147483865"/>
              <ac:picMk id="11" creationId="{93A279FD-F954-407E-8068-C22694CA7780}"/>
            </ac:picMkLst>
          </pc:picChg>
        </pc:sldLayoutChg>
        <pc:sldLayoutChg chg="del">
          <pc:chgData name="Lena Mündel" userId="147c7959c6fcdb42" providerId="LiveId" clId="{965E4120-8743-3348-B1DE-B291230BB55E}" dt="2021-05-15T11:53:12.490" v="9" actId="2696"/>
          <pc:sldLayoutMkLst>
            <pc:docMk/>
            <pc:sldMasterMk cId="3386525249" sldId="2147483864"/>
            <pc:sldLayoutMk cId="3854515088" sldId="2147483866"/>
          </pc:sldLayoutMkLst>
        </pc:sldLayoutChg>
        <pc:sldLayoutChg chg="del">
          <pc:chgData name="Lena Mündel" userId="147c7959c6fcdb42" providerId="LiveId" clId="{965E4120-8743-3348-B1DE-B291230BB55E}" dt="2021-05-15T11:53:12.496" v="10" actId="2696"/>
          <pc:sldLayoutMkLst>
            <pc:docMk/>
            <pc:sldMasterMk cId="3386525249" sldId="2147483864"/>
            <pc:sldLayoutMk cId="921966453" sldId="2147483867"/>
          </pc:sldLayoutMkLst>
        </pc:sldLayoutChg>
        <pc:sldLayoutChg chg="del">
          <pc:chgData name="Lena Mündel" userId="147c7959c6fcdb42" providerId="LiveId" clId="{965E4120-8743-3348-B1DE-B291230BB55E}" dt="2021-05-15T11:53:12.500" v="11" actId="2696"/>
          <pc:sldLayoutMkLst>
            <pc:docMk/>
            <pc:sldMasterMk cId="3386525249" sldId="2147483864"/>
            <pc:sldLayoutMk cId="3528294560" sldId="2147483868"/>
          </pc:sldLayoutMkLst>
        </pc:sldLayoutChg>
        <pc:sldLayoutChg chg="del">
          <pc:chgData name="Lena Mündel" userId="147c7959c6fcdb42" providerId="LiveId" clId="{965E4120-8743-3348-B1DE-B291230BB55E}" dt="2021-05-15T11:53:12.504" v="12" actId="2696"/>
          <pc:sldLayoutMkLst>
            <pc:docMk/>
            <pc:sldMasterMk cId="3386525249" sldId="2147483864"/>
            <pc:sldLayoutMk cId="3775015373" sldId="2147483870"/>
          </pc:sldLayoutMkLst>
        </pc:sldLayoutChg>
        <pc:sldLayoutChg chg="del">
          <pc:chgData name="Lena Mündel" userId="147c7959c6fcdb42" providerId="LiveId" clId="{965E4120-8743-3348-B1DE-B291230BB55E}" dt="2021-05-15T11:53:12.507" v="13" actId="2696"/>
          <pc:sldLayoutMkLst>
            <pc:docMk/>
            <pc:sldMasterMk cId="3386525249" sldId="2147483864"/>
            <pc:sldLayoutMk cId="2312678822" sldId="2147483871"/>
          </pc:sldLayoutMkLst>
        </pc:sldLayoutChg>
        <pc:sldLayoutChg chg="del">
          <pc:chgData name="Lena Mündel" userId="147c7959c6fcdb42" providerId="LiveId" clId="{965E4120-8743-3348-B1DE-B291230BB55E}" dt="2021-05-15T11:53:12.517" v="14" actId="2696"/>
          <pc:sldLayoutMkLst>
            <pc:docMk/>
            <pc:sldMasterMk cId="3386525249" sldId="2147483864"/>
            <pc:sldLayoutMk cId="1943807728" sldId="2147483872"/>
          </pc:sldLayoutMkLst>
        </pc:sldLayoutChg>
        <pc:sldLayoutChg chg="del">
          <pc:chgData name="Lena Mündel" userId="147c7959c6fcdb42" providerId="LiveId" clId="{965E4120-8743-3348-B1DE-B291230BB55E}" dt="2021-05-15T11:53:12.523" v="15" actId="2696"/>
          <pc:sldLayoutMkLst>
            <pc:docMk/>
            <pc:sldMasterMk cId="3386525249" sldId="2147483864"/>
            <pc:sldLayoutMk cId="3128788021" sldId="2147483873"/>
          </pc:sldLayoutMkLst>
        </pc:sldLayoutChg>
        <pc:sldLayoutChg chg="del">
          <pc:chgData name="Lena Mündel" userId="147c7959c6fcdb42" providerId="LiveId" clId="{965E4120-8743-3348-B1DE-B291230BB55E}" dt="2021-05-15T11:53:12.527" v="16" actId="2696"/>
          <pc:sldLayoutMkLst>
            <pc:docMk/>
            <pc:sldMasterMk cId="3386525249" sldId="2147483864"/>
            <pc:sldLayoutMk cId="1224719349" sldId="2147483874"/>
          </pc:sldLayoutMkLst>
        </pc:sldLayoutChg>
        <pc:sldLayoutChg chg="del">
          <pc:chgData name="Lena Mündel" userId="147c7959c6fcdb42" providerId="LiveId" clId="{965E4120-8743-3348-B1DE-B291230BB55E}" dt="2021-05-15T11:53:12.537" v="17" actId="2696"/>
          <pc:sldLayoutMkLst>
            <pc:docMk/>
            <pc:sldMasterMk cId="3386525249" sldId="2147483864"/>
            <pc:sldLayoutMk cId="2169503006" sldId="2147483875"/>
          </pc:sldLayoutMkLst>
        </pc:sldLayoutChg>
        <pc:sldLayoutChg chg="del">
          <pc:chgData name="Lena Mündel" userId="147c7959c6fcdb42" providerId="LiveId" clId="{965E4120-8743-3348-B1DE-B291230BB55E}" dt="2021-05-15T11:53:12.566" v="20" actId="2696"/>
          <pc:sldLayoutMkLst>
            <pc:docMk/>
            <pc:sldMasterMk cId="3386525249" sldId="2147483864"/>
            <pc:sldLayoutMk cId="319649062" sldId="2147483877"/>
          </pc:sldLayoutMkLst>
        </pc:sldLayoutChg>
        <pc:sldLayoutChg chg="delSp del mod">
          <pc:chgData name="Lena Mündel" userId="147c7959c6fcdb42" providerId="LiveId" clId="{965E4120-8743-3348-B1DE-B291230BB55E}" dt="2021-05-15T11:53:12.579" v="21" actId="2696"/>
          <pc:sldLayoutMkLst>
            <pc:docMk/>
            <pc:sldMasterMk cId="3386525249" sldId="2147483864"/>
            <pc:sldLayoutMk cId="3677900212" sldId="2147483878"/>
          </pc:sldLayoutMkLst>
          <pc:grpChg chg="del">
            <ac:chgData name="Lena Mündel" userId="147c7959c6fcdb42" providerId="LiveId" clId="{965E4120-8743-3348-B1DE-B291230BB55E}" dt="2021-05-15T11:53:06.836" v="7" actId="478"/>
            <ac:grpSpMkLst>
              <pc:docMk/>
              <pc:sldMasterMk cId="3386525249" sldId="2147483864"/>
              <pc:sldLayoutMk cId="3677900212" sldId="2147483878"/>
              <ac:grpSpMk id="6" creationId="{280FE25E-C8A9-4A63-9254-D200989A2E09}"/>
            </ac:grpSpMkLst>
          </pc:grpChg>
          <pc:picChg chg="del">
            <ac:chgData name="Lena Mündel" userId="147c7959c6fcdb42" providerId="LiveId" clId="{965E4120-8743-3348-B1DE-B291230BB55E}" dt="2021-05-15T11:53:05.720" v="6" actId="478"/>
            <ac:picMkLst>
              <pc:docMk/>
              <pc:sldMasterMk cId="3386525249" sldId="2147483864"/>
              <pc:sldLayoutMk cId="3677900212" sldId="2147483878"/>
              <ac:picMk id="11" creationId="{FCA4B8D5-471D-4239-A62C-7BEFF7AC42FA}"/>
            </ac:picMkLst>
          </pc:picChg>
        </pc:sldLayoutChg>
        <pc:sldLayoutChg chg="del">
          <pc:chgData name="Lena Mündel" userId="147c7959c6fcdb42" providerId="LiveId" clId="{965E4120-8743-3348-B1DE-B291230BB55E}" dt="2021-05-15T11:53:12.560" v="19" actId="2696"/>
          <pc:sldLayoutMkLst>
            <pc:docMk/>
            <pc:sldMasterMk cId="3386525249" sldId="2147483864"/>
            <pc:sldLayoutMk cId="1546407957" sldId="2147483880"/>
          </pc:sldLayoutMkLst>
        </pc:sldLayoutChg>
        <pc:sldLayoutChg chg="del">
          <pc:chgData name="Lena Mündel" userId="147c7959c6fcdb42" providerId="LiveId" clId="{965E4120-8743-3348-B1DE-B291230BB55E}" dt="2021-05-15T11:53:12.551" v="18" actId="2696"/>
          <pc:sldLayoutMkLst>
            <pc:docMk/>
            <pc:sldMasterMk cId="3386525249" sldId="2147483864"/>
            <pc:sldLayoutMk cId="1413098168" sldId="2147483881"/>
          </pc:sldLayoutMkLst>
        </pc:sldLayoutChg>
      </pc:sldMasterChg>
    </pc:docChg>
  </pc:docChgLst>
  <pc:docChgLst>
    <pc:chgData name="Sebastian Braun" userId="e1610f528f931118" providerId="Windows Live" clId="Web-{7C0CB57A-04B4-4CFF-B0B4-DA72A49C0B29}"/>
    <pc:docChg chg="modSld">
      <pc:chgData name="Sebastian Braun" userId="e1610f528f931118" providerId="Windows Live" clId="Web-{7C0CB57A-04B4-4CFF-B0B4-DA72A49C0B29}" dt="2021-05-17T21:26:21.606" v="110" actId="20577"/>
      <pc:docMkLst>
        <pc:docMk/>
      </pc:docMkLst>
      <pc:sldChg chg="modSp">
        <pc:chgData name="Sebastian Braun" userId="e1610f528f931118" providerId="Windows Live" clId="Web-{7C0CB57A-04B4-4CFF-B0B4-DA72A49C0B29}" dt="2021-05-17T21:26:21.606" v="110" actId="20577"/>
        <pc:sldMkLst>
          <pc:docMk/>
          <pc:sldMk cId="755710382" sldId="257"/>
        </pc:sldMkLst>
        <pc:spChg chg="mod">
          <ac:chgData name="Sebastian Braun" userId="e1610f528f931118" providerId="Windows Live" clId="Web-{7C0CB57A-04B4-4CFF-B0B4-DA72A49C0B29}" dt="2021-05-17T21:26:21.606" v="110" actId="20577"/>
          <ac:spMkLst>
            <pc:docMk/>
            <pc:sldMk cId="755710382" sldId="257"/>
            <ac:spMk id="3" creationId="{3E491D25-01C4-8A4D-BC2D-309212F486E7}"/>
          </ac:spMkLst>
        </pc:spChg>
        <pc:spChg chg="mod">
          <ac:chgData name="Sebastian Braun" userId="e1610f528f931118" providerId="Windows Live" clId="Web-{7C0CB57A-04B4-4CFF-B0B4-DA72A49C0B29}" dt="2021-05-17T21:22:55.633" v="17" actId="20577"/>
          <ac:spMkLst>
            <pc:docMk/>
            <pc:sldMk cId="755710382" sldId="257"/>
            <ac:spMk id="4" creationId="{1F2AB265-DB18-644D-B78E-168827F17421}"/>
          </ac:spMkLst>
        </pc:spChg>
        <pc:spChg chg="mod">
          <ac:chgData name="Sebastian Braun" userId="e1610f528f931118" providerId="Windows Live" clId="Web-{7C0CB57A-04B4-4CFF-B0B4-DA72A49C0B29}" dt="2021-05-17T21:22:50.695" v="13" actId="20577"/>
          <ac:spMkLst>
            <pc:docMk/>
            <pc:sldMk cId="755710382" sldId="257"/>
            <ac:spMk id="5" creationId="{16B65C36-12ED-4145-B3E0-10E4626FF558}"/>
          </ac:spMkLst>
        </pc:spChg>
      </pc:sldChg>
    </pc:docChg>
  </pc:docChgLst>
  <pc:docChgLst>
    <pc:chgData name="Victoria Maier" userId="d0e0beb17b2e580c" providerId="LiveId" clId="{AE0E92E7-A2EF-3940-BD9E-CAA1BD087D47}"/>
    <pc:docChg chg="custSel addSld delSld modSld sldOrd">
      <pc:chgData name="Victoria Maier" userId="d0e0beb17b2e580c" providerId="LiveId" clId="{AE0E92E7-A2EF-3940-BD9E-CAA1BD087D47}" dt="2021-05-18T08:56:50.894" v="574" actId="1076"/>
      <pc:docMkLst>
        <pc:docMk/>
      </pc:docMkLst>
      <pc:sldChg chg="modSp mod">
        <pc:chgData name="Victoria Maier" userId="d0e0beb17b2e580c" providerId="LiveId" clId="{AE0E92E7-A2EF-3940-BD9E-CAA1BD087D47}" dt="2021-05-18T08:19:04.661" v="0" actId="20577"/>
        <pc:sldMkLst>
          <pc:docMk/>
          <pc:sldMk cId="755710382" sldId="257"/>
        </pc:sldMkLst>
        <pc:spChg chg="mod">
          <ac:chgData name="Victoria Maier" userId="d0e0beb17b2e580c" providerId="LiveId" clId="{AE0E92E7-A2EF-3940-BD9E-CAA1BD087D47}" dt="2021-05-18T08:19:04.661" v="0" actId="20577"/>
          <ac:spMkLst>
            <pc:docMk/>
            <pc:sldMk cId="755710382" sldId="257"/>
            <ac:spMk id="3" creationId="{3E491D25-01C4-8A4D-BC2D-309212F486E7}"/>
          </ac:spMkLst>
        </pc:spChg>
      </pc:sldChg>
      <pc:sldChg chg="addSp delSp modSp new mod">
        <pc:chgData name="Victoria Maier" userId="d0e0beb17b2e580c" providerId="LiveId" clId="{AE0E92E7-A2EF-3940-BD9E-CAA1BD087D47}" dt="2021-05-18T08:44:06.556" v="493" actId="14100"/>
        <pc:sldMkLst>
          <pc:docMk/>
          <pc:sldMk cId="1903498748" sldId="264"/>
        </pc:sldMkLst>
        <pc:spChg chg="mod">
          <ac:chgData name="Victoria Maier" userId="d0e0beb17b2e580c" providerId="LiveId" clId="{AE0E92E7-A2EF-3940-BD9E-CAA1BD087D47}" dt="2021-05-18T08:32:58.178" v="15" actId="20577"/>
          <ac:spMkLst>
            <pc:docMk/>
            <pc:sldMk cId="1903498748" sldId="264"/>
            <ac:spMk id="2" creationId="{2F5888ED-8FDD-A44E-8B60-2DDE0B577850}"/>
          </ac:spMkLst>
        </pc:spChg>
        <pc:spChg chg="mod">
          <ac:chgData name="Victoria Maier" userId="d0e0beb17b2e580c" providerId="LiveId" clId="{AE0E92E7-A2EF-3940-BD9E-CAA1BD087D47}" dt="2021-05-18T08:33:04.231" v="38" actId="20577"/>
          <ac:spMkLst>
            <pc:docMk/>
            <pc:sldMk cId="1903498748" sldId="264"/>
            <ac:spMk id="3" creationId="{5016FBAC-093F-994D-BC70-11A0B3680DC7}"/>
          </ac:spMkLst>
        </pc:spChg>
        <pc:spChg chg="add mod">
          <ac:chgData name="Victoria Maier" userId="d0e0beb17b2e580c" providerId="LiveId" clId="{AE0E92E7-A2EF-3940-BD9E-CAA1BD087D47}" dt="2021-05-18T08:44:06.556" v="493" actId="14100"/>
          <ac:spMkLst>
            <pc:docMk/>
            <pc:sldMk cId="1903498748" sldId="264"/>
            <ac:spMk id="5" creationId="{93D469EB-4D12-B348-A165-913092A49E20}"/>
          </ac:spMkLst>
        </pc:spChg>
        <pc:spChg chg="add mod">
          <ac:chgData name="Victoria Maier" userId="d0e0beb17b2e580c" providerId="LiveId" clId="{AE0E92E7-A2EF-3940-BD9E-CAA1BD087D47}" dt="2021-05-18T08:42:42.108" v="465" actId="1076"/>
          <ac:spMkLst>
            <pc:docMk/>
            <pc:sldMk cId="1903498748" sldId="264"/>
            <ac:spMk id="6" creationId="{CC2E037D-58E5-2D42-AD77-063190A61792}"/>
          </ac:spMkLst>
        </pc:spChg>
        <pc:spChg chg="add mod">
          <ac:chgData name="Victoria Maier" userId="d0e0beb17b2e580c" providerId="LiveId" clId="{AE0E92E7-A2EF-3940-BD9E-CAA1BD087D47}" dt="2021-05-18T08:42:06.339" v="441" actId="122"/>
          <ac:spMkLst>
            <pc:docMk/>
            <pc:sldMk cId="1903498748" sldId="264"/>
            <ac:spMk id="7" creationId="{82799C45-5F8B-AF44-A01B-14CFAA4B69EA}"/>
          </ac:spMkLst>
        </pc:spChg>
        <pc:spChg chg="add mod">
          <ac:chgData name="Victoria Maier" userId="d0e0beb17b2e580c" providerId="LiveId" clId="{AE0E92E7-A2EF-3940-BD9E-CAA1BD087D47}" dt="2021-05-18T08:36:37.240" v="215" actId="1076"/>
          <ac:spMkLst>
            <pc:docMk/>
            <pc:sldMk cId="1903498748" sldId="264"/>
            <ac:spMk id="8" creationId="{F2CFD098-4468-AE4D-AED9-FDAAF3361D4E}"/>
          </ac:spMkLst>
        </pc:spChg>
        <pc:spChg chg="mod">
          <ac:chgData name="Victoria Maier" userId="d0e0beb17b2e580c" providerId="LiveId" clId="{AE0E92E7-A2EF-3940-BD9E-CAA1BD087D47}" dt="2021-05-18T08:36:13.296" v="207"/>
          <ac:spMkLst>
            <pc:docMk/>
            <pc:sldMk cId="1903498748" sldId="264"/>
            <ac:spMk id="10" creationId="{F399A130-A309-4C41-88A5-74DA535B24B0}"/>
          </ac:spMkLst>
        </pc:spChg>
        <pc:spChg chg="mod">
          <ac:chgData name="Victoria Maier" userId="d0e0beb17b2e580c" providerId="LiveId" clId="{AE0E92E7-A2EF-3940-BD9E-CAA1BD087D47}" dt="2021-05-18T08:37:29.940" v="227"/>
          <ac:spMkLst>
            <pc:docMk/>
            <pc:sldMk cId="1903498748" sldId="264"/>
            <ac:spMk id="16" creationId="{9E753488-33D4-7242-9B32-9C6A59033C34}"/>
          </ac:spMkLst>
        </pc:spChg>
        <pc:spChg chg="add mod">
          <ac:chgData name="Victoria Maier" userId="d0e0beb17b2e580c" providerId="LiveId" clId="{AE0E92E7-A2EF-3940-BD9E-CAA1BD087D47}" dt="2021-05-18T08:37:50.893" v="235" actId="1076"/>
          <ac:spMkLst>
            <pc:docMk/>
            <pc:sldMk cId="1903498748" sldId="264"/>
            <ac:spMk id="18" creationId="{4DE03026-9411-9141-A945-E27ADDB41A69}"/>
          </ac:spMkLst>
        </pc:spChg>
        <pc:spChg chg="add mod">
          <ac:chgData name="Victoria Maier" userId="d0e0beb17b2e580c" providerId="LiveId" clId="{AE0E92E7-A2EF-3940-BD9E-CAA1BD087D47}" dt="2021-05-18T08:38:39.623" v="270" actId="20577"/>
          <ac:spMkLst>
            <pc:docMk/>
            <pc:sldMk cId="1903498748" sldId="264"/>
            <ac:spMk id="19" creationId="{2AB36E68-45F4-B748-9125-7627CEA8980B}"/>
          </ac:spMkLst>
        </pc:spChg>
        <pc:spChg chg="add mod">
          <ac:chgData name="Victoria Maier" userId="d0e0beb17b2e580c" providerId="LiveId" clId="{AE0E92E7-A2EF-3940-BD9E-CAA1BD087D47}" dt="2021-05-18T08:42:57.173" v="486" actId="313"/>
          <ac:spMkLst>
            <pc:docMk/>
            <pc:sldMk cId="1903498748" sldId="264"/>
            <ac:spMk id="20" creationId="{638E4FC4-69DE-774C-AC6B-A755AE22091B}"/>
          </ac:spMkLst>
        </pc:spChg>
        <pc:spChg chg="add mod">
          <ac:chgData name="Victoria Maier" userId="d0e0beb17b2e580c" providerId="LiveId" clId="{AE0E92E7-A2EF-3940-BD9E-CAA1BD087D47}" dt="2021-05-18T08:42:38.947" v="464" actId="1076"/>
          <ac:spMkLst>
            <pc:docMk/>
            <pc:sldMk cId="1903498748" sldId="264"/>
            <ac:spMk id="21" creationId="{5171F6E8-CB9B-9745-B937-D04FA4C117C0}"/>
          </ac:spMkLst>
        </pc:spChg>
        <pc:spChg chg="add mod">
          <ac:chgData name="Victoria Maier" userId="d0e0beb17b2e580c" providerId="LiveId" clId="{AE0E92E7-A2EF-3940-BD9E-CAA1BD087D47}" dt="2021-05-18T08:41:36.903" v="396" actId="1076"/>
          <ac:spMkLst>
            <pc:docMk/>
            <pc:sldMk cId="1903498748" sldId="264"/>
            <ac:spMk id="25" creationId="{3AAA2787-3CD5-5E42-9252-F99E04E9669A}"/>
          </ac:spMkLst>
        </pc:spChg>
        <pc:grpChg chg="add mod">
          <ac:chgData name="Victoria Maier" userId="d0e0beb17b2e580c" providerId="LiveId" clId="{AE0E92E7-A2EF-3940-BD9E-CAA1BD087D47}" dt="2021-05-18T08:36:13.296" v="207"/>
          <ac:grpSpMkLst>
            <pc:docMk/>
            <pc:sldMk cId="1903498748" sldId="264"/>
            <ac:grpSpMk id="9" creationId="{52139396-F0AD-5C4F-A7D8-38F347AB4129}"/>
          </ac:grpSpMkLst>
        </pc:grpChg>
        <pc:grpChg chg="add del mod">
          <ac:chgData name="Victoria Maier" userId="d0e0beb17b2e580c" providerId="LiveId" clId="{AE0E92E7-A2EF-3940-BD9E-CAA1BD087D47}" dt="2021-05-18T08:37:31.812" v="229" actId="478"/>
          <ac:grpSpMkLst>
            <pc:docMk/>
            <pc:sldMk cId="1903498748" sldId="264"/>
            <ac:grpSpMk id="15" creationId="{870A4691-F2FB-2543-A12F-CC6C46C59A9E}"/>
          </ac:grpSpMkLst>
        </pc:grpChg>
        <pc:picChg chg="mod">
          <ac:chgData name="Victoria Maier" userId="d0e0beb17b2e580c" providerId="LiveId" clId="{AE0E92E7-A2EF-3940-BD9E-CAA1BD087D47}" dt="2021-05-18T08:36:13.296" v="207"/>
          <ac:picMkLst>
            <pc:docMk/>
            <pc:sldMk cId="1903498748" sldId="264"/>
            <ac:picMk id="11" creationId="{4BDC4B88-D734-5049-8230-5097A3F828E8}"/>
          </ac:picMkLst>
        </pc:picChg>
        <pc:picChg chg="add mod">
          <ac:chgData name="Victoria Maier" userId="d0e0beb17b2e580c" providerId="LiveId" clId="{AE0E92E7-A2EF-3940-BD9E-CAA1BD087D47}" dt="2021-05-18T08:37:24.921" v="226" actId="1076"/>
          <ac:picMkLst>
            <pc:docMk/>
            <pc:sldMk cId="1903498748" sldId="264"/>
            <ac:picMk id="14" creationId="{928E6F40-BADA-0C40-BFE5-A90663998F4C}"/>
          </ac:picMkLst>
        </pc:picChg>
        <pc:picChg chg="mod">
          <ac:chgData name="Victoria Maier" userId="d0e0beb17b2e580c" providerId="LiveId" clId="{AE0E92E7-A2EF-3940-BD9E-CAA1BD087D47}" dt="2021-05-18T08:37:29.940" v="227"/>
          <ac:picMkLst>
            <pc:docMk/>
            <pc:sldMk cId="1903498748" sldId="264"/>
            <ac:picMk id="17" creationId="{AC68B1ED-7001-F448-AC58-2160699F15A7}"/>
          </ac:picMkLst>
        </pc:picChg>
        <pc:picChg chg="add mod">
          <ac:chgData name="Victoria Maier" userId="d0e0beb17b2e580c" providerId="LiveId" clId="{AE0E92E7-A2EF-3940-BD9E-CAA1BD087D47}" dt="2021-05-18T08:41:36.903" v="396" actId="1076"/>
          <ac:picMkLst>
            <pc:docMk/>
            <pc:sldMk cId="1903498748" sldId="264"/>
            <ac:picMk id="24" creationId="{C4F2A60B-3FFC-744A-859C-109A37EDEB3E}"/>
          </ac:picMkLst>
        </pc:picChg>
        <pc:cxnChg chg="add mod">
          <ac:chgData name="Victoria Maier" userId="d0e0beb17b2e580c" providerId="LiveId" clId="{AE0E92E7-A2EF-3940-BD9E-CAA1BD087D47}" dt="2021-05-18T08:36:46.114" v="217"/>
          <ac:cxnSpMkLst>
            <pc:docMk/>
            <pc:sldMk cId="1903498748" sldId="264"/>
            <ac:cxnSpMk id="12" creationId="{6E761369-747C-8F41-8F6B-E85E26F97841}"/>
          </ac:cxnSpMkLst>
        </pc:cxnChg>
        <pc:cxnChg chg="add mod">
          <ac:chgData name="Victoria Maier" userId="d0e0beb17b2e580c" providerId="LiveId" clId="{AE0E92E7-A2EF-3940-BD9E-CAA1BD087D47}" dt="2021-05-18T08:40:24.416" v="339" actId="1076"/>
          <ac:cxnSpMkLst>
            <pc:docMk/>
            <pc:sldMk cId="1903498748" sldId="264"/>
            <ac:cxnSpMk id="22" creationId="{9F48E3B3-6996-F54C-828D-3D486AA12675}"/>
          </ac:cxnSpMkLst>
        </pc:cxnChg>
      </pc:sldChg>
      <pc:sldChg chg="addSp delSp modSp">
        <pc:chgData name="Victoria Maier" userId="d0e0beb17b2e580c" providerId="LiveId" clId="{AE0E92E7-A2EF-3940-BD9E-CAA1BD087D47}" dt="2021-05-18T08:47:57.503" v="510" actId="478"/>
        <pc:sldMkLst>
          <pc:docMk/>
          <pc:sldMk cId="3206286563" sldId="265"/>
        </pc:sldMkLst>
        <pc:picChg chg="add del mod">
          <ac:chgData name="Victoria Maier" userId="d0e0beb17b2e580c" providerId="LiveId" clId="{AE0E92E7-A2EF-3940-BD9E-CAA1BD087D47}" dt="2021-05-18T08:47:21.043" v="498" actId="478"/>
          <ac:picMkLst>
            <pc:docMk/>
            <pc:sldMk cId="3206286563" sldId="265"/>
            <ac:picMk id="28674" creationId="{3E6CD7D2-6000-974C-8E9E-5665FDF2CE55}"/>
          </ac:picMkLst>
        </pc:picChg>
        <pc:picChg chg="add del mod">
          <ac:chgData name="Victoria Maier" userId="d0e0beb17b2e580c" providerId="LiveId" clId="{AE0E92E7-A2EF-3940-BD9E-CAA1BD087D47}" dt="2021-05-18T08:47:57.503" v="510" actId="478"/>
          <ac:picMkLst>
            <pc:docMk/>
            <pc:sldMk cId="3206286563" sldId="265"/>
            <ac:picMk id="28676" creationId="{BDC1F68F-01D5-B14F-B98B-2F5FD492F572}"/>
          </ac:picMkLst>
        </pc:picChg>
      </pc:sldChg>
      <pc:sldChg chg="addSp delSp modSp new del mod ord">
        <pc:chgData name="Victoria Maier" userId="d0e0beb17b2e580c" providerId="LiveId" clId="{AE0E92E7-A2EF-3940-BD9E-CAA1BD087D47}" dt="2021-05-18T08:53:13.231" v="527" actId="2696"/>
        <pc:sldMkLst>
          <pc:docMk/>
          <pc:sldMk cId="407925185" sldId="268"/>
        </pc:sldMkLst>
        <pc:spChg chg="mod">
          <ac:chgData name="Victoria Maier" userId="d0e0beb17b2e580c" providerId="LiveId" clId="{AE0E92E7-A2EF-3940-BD9E-CAA1BD087D47}" dt="2021-05-18T08:52:37.487" v="522" actId="20577"/>
          <ac:spMkLst>
            <pc:docMk/>
            <pc:sldMk cId="407925185" sldId="268"/>
            <ac:spMk id="2" creationId="{F93832CF-36B0-3249-98A8-9B15B39F52DC}"/>
          </ac:spMkLst>
        </pc:spChg>
        <pc:picChg chg="add del mod">
          <ac:chgData name="Victoria Maier" userId="d0e0beb17b2e580c" providerId="LiveId" clId="{AE0E92E7-A2EF-3940-BD9E-CAA1BD087D47}" dt="2021-05-18T08:53:07.708" v="526" actId="21"/>
          <ac:picMkLst>
            <pc:docMk/>
            <pc:sldMk cId="407925185" sldId="268"/>
            <ac:picMk id="5" creationId="{63E09326-01E5-4546-8968-C8ACB9A4E08C}"/>
          </ac:picMkLst>
        </pc:picChg>
      </pc:sldChg>
      <pc:sldChg chg="addSp modSp mod">
        <pc:chgData name="Victoria Maier" userId="d0e0beb17b2e580c" providerId="LiveId" clId="{AE0E92E7-A2EF-3940-BD9E-CAA1BD087D47}" dt="2021-05-18T08:56:50.894" v="574" actId="1076"/>
        <pc:sldMkLst>
          <pc:docMk/>
          <pc:sldMk cId="245553637" sldId="269"/>
        </pc:sldMkLst>
        <pc:spChg chg="add mod">
          <ac:chgData name="Victoria Maier" userId="d0e0beb17b2e580c" providerId="LiveId" clId="{AE0E92E7-A2EF-3940-BD9E-CAA1BD087D47}" dt="2021-05-18T08:55:45.007" v="545" actId="14100"/>
          <ac:spMkLst>
            <pc:docMk/>
            <pc:sldMk cId="245553637" sldId="269"/>
            <ac:spMk id="8" creationId="{428CBE03-2747-8148-950E-B71AA2A19B31}"/>
          </ac:spMkLst>
        </pc:spChg>
        <pc:spChg chg="mod">
          <ac:chgData name="Victoria Maier" userId="d0e0beb17b2e580c" providerId="LiveId" clId="{AE0E92E7-A2EF-3940-BD9E-CAA1BD087D47}" dt="2021-05-18T08:55:49.062" v="547" actId="20577"/>
          <ac:spMkLst>
            <pc:docMk/>
            <pc:sldMk cId="245553637" sldId="269"/>
            <ac:spMk id="10" creationId="{428CBE03-2747-8148-950E-B71AA2A19B31}"/>
          </ac:spMkLst>
        </pc:spChg>
        <pc:spChg chg="add mod">
          <ac:chgData name="Victoria Maier" userId="d0e0beb17b2e580c" providerId="LiveId" clId="{AE0E92E7-A2EF-3940-BD9E-CAA1BD087D47}" dt="2021-05-18T08:56:01.393" v="568" actId="1076"/>
          <ac:spMkLst>
            <pc:docMk/>
            <pc:sldMk cId="245553637" sldId="269"/>
            <ac:spMk id="12" creationId="{7CC7C9A7-C049-794C-A3AB-31E4A9F4A19F}"/>
          </ac:spMkLst>
        </pc:spChg>
        <pc:spChg chg="mod">
          <ac:chgData name="Victoria Maier" userId="d0e0beb17b2e580c" providerId="LiveId" clId="{AE0E92E7-A2EF-3940-BD9E-CAA1BD087D47}" dt="2021-05-18T08:56:40.039" v="571" actId="1076"/>
          <ac:spMkLst>
            <pc:docMk/>
            <pc:sldMk cId="245553637" sldId="269"/>
            <ac:spMk id="16" creationId="{DEAF53B8-21B4-4230-B421-2E6B2E8A50C0}"/>
          </ac:spMkLst>
        </pc:spChg>
        <pc:picChg chg="mod">
          <ac:chgData name="Victoria Maier" userId="d0e0beb17b2e580c" providerId="LiveId" clId="{AE0E92E7-A2EF-3940-BD9E-CAA1BD087D47}" dt="2021-05-18T08:54:37.300" v="531" actId="1076"/>
          <ac:picMkLst>
            <pc:docMk/>
            <pc:sldMk cId="245553637" sldId="269"/>
            <ac:picMk id="7" creationId="{B8128788-0D8B-D94B-B7CF-E321217A91E7}"/>
          </ac:picMkLst>
        </pc:picChg>
        <pc:picChg chg="mod">
          <ac:chgData name="Victoria Maier" userId="d0e0beb17b2e580c" providerId="LiveId" clId="{AE0E92E7-A2EF-3940-BD9E-CAA1BD087D47}" dt="2021-05-18T08:54:40.556" v="532" actId="1076"/>
          <ac:picMkLst>
            <pc:docMk/>
            <pc:sldMk cId="245553637" sldId="269"/>
            <ac:picMk id="11" creationId="{AF228C95-F371-034C-BCBB-186453BE0DE5}"/>
          </ac:picMkLst>
        </pc:picChg>
        <pc:picChg chg="mod">
          <ac:chgData name="Victoria Maier" userId="d0e0beb17b2e580c" providerId="LiveId" clId="{AE0E92E7-A2EF-3940-BD9E-CAA1BD087D47}" dt="2021-05-18T08:56:50.894" v="574" actId="1076"/>
          <ac:picMkLst>
            <pc:docMk/>
            <pc:sldMk cId="245553637" sldId="269"/>
            <ac:picMk id="14" creationId="{8B952518-427B-47C7-AD2C-5DF93332F0F5}"/>
          </ac:picMkLst>
        </pc:picChg>
        <pc:picChg chg="add mod">
          <ac:chgData name="Victoria Maier" userId="d0e0beb17b2e580c" providerId="LiveId" clId="{AE0E92E7-A2EF-3940-BD9E-CAA1BD087D47}" dt="2021-05-18T08:54:43.837" v="533" actId="1076"/>
          <ac:picMkLst>
            <pc:docMk/>
            <pc:sldMk cId="245553637" sldId="269"/>
            <ac:picMk id="1027" creationId="{D03C6366-2D92-0048-93E2-5A7ED5904E64}"/>
          </ac:picMkLst>
        </pc:picChg>
      </pc:sldChg>
    </pc:docChg>
  </pc:docChgLst>
  <pc:docChgLst>
    <pc:chgData name="Sophie R" userId="80b66619546d9cdd" providerId="LiveId" clId="{7E607404-3467-44B6-89FA-395DAFE6A058}"/>
    <pc:docChg chg="custSel delSld modSld">
      <pc:chgData name="Sophie R" userId="80b66619546d9cdd" providerId="LiveId" clId="{7E607404-3467-44B6-89FA-395DAFE6A058}" dt="2021-06-08T09:14:16.825" v="186" actId="2696"/>
      <pc:docMkLst>
        <pc:docMk/>
      </pc:docMkLst>
      <pc:sldChg chg="del">
        <pc:chgData name="Sophie R" userId="80b66619546d9cdd" providerId="LiveId" clId="{7E607404-3467-44B6-89FA-395DAFE6A058}" dt="2021-06-08T09:14:16.825" v="186" actId="2696"/>
        <pc:sldMkLst>
          <pc:docMk/>
          <pc:sldMk cId="2066224238" sldId="259"/>
        </pc:sldMkLst>
      </pc:sldChg>
      <pc:sldChg chg="del">
        <pc:chgData name="Sophie R" userId="80b66619546d9cdd" providerId="LiveId" clId="{7E607404-3467-44B6-89FA-395DAFE6A058}" dt="2021-06-08T09:14:16.825" v="186" actId="2696"/>
        <pc:sldMkLst>
          <pc:docMk/>
          <pc:sldMk cId="595371731" sldId="260"/>
        </pc:sldMkLst>
      </pc:sldChg>
      <pc:sldChg chg="delSp modSp del mod">
        <pc:chgData name="Sophie R" userId="80b66619546d9cdd" providerId="LiveId" clId="{7E607404-3467-44B6-89FA-395DAFE6A058}" dt="2021-06-08T09:14:16.825" v="186" actId="2696"/>
        <pc:sldMkLst>
          <pc:docMk/>
          <pc:sldMk cId="1428157349" sldId="261"/>
        </pc:sldMkLst>
        <pc:spChg chg="del mod">
          <ac:chgData name="Sophie R" userId="80b66619546d9cdd" providerId="LiveId" clId="{7E607404-3467-44B6-89FA-395DAFE6A058}" dt="2021-06-05T13:24:31.648" v="9" actId="478"/>
          <ac:spMkLst>
            <pc:docMk/>
            <pc:sldMk cId="1428157349" sldId="261"/>
            <ac:spMk id="6" creationId="{902B4DAC-EE88-4FAF-81FE-623F5661D3D9}"/>
          </ac:spMkLst>
        </pc:spChg>
        <pc:spChg chg="del mod">
          <ac:chgData name="Sophie R" userId="80b66619546d9cdd" providerId="LiveId" clId="{7E607404-3467-44B6-89FA-395DAFE6A058}" dt="2021-06-05T13:24:23.821" v="1" actId="478"/>
          <ac:spMkLst>
            <pc:docMk/>
            <pc:sldMk cId="1428157349" sldId="261"/>
            <ac:spMk id="7" creationId="{AEBEEC9E-36B1-42CB-B536-C8A5399812F7}"/>
          </ac:spMkLst>
        </pc:spChg>
        <pc:spChg chg="del">
          <ac:chgData name="Sophie R" userId="80b66619546d9cdd" providerId="LiveId" clId="{7E607404-3467-44B6-89FA-395DAFE6A058}" dt="2021-06-05T13:24:24.541" v="2" actId="478"/>
          <ac:spMkLst>
            <pc:docMk/>
            <pc:sldMk cId="1428157349" sldId="261"/>
            <ac:spMk id="9" creationId="{02D64CC4-0F2E-4E2D-A705-9BCFDEA8E664}"/>
          </ac:spMkLst>
        </pc:spChg>
        <pc:spChg chg="del mod">
          <ac:chgData name="Sophie R" userId="80b66619546d9cdd" providerId="LiveId" clId="{7E607404-3467-44B6-89FA-395DAFE6A058}" dt="2021-06-05T13:24:29.633" v="6" actId="478"/>
          <ac:spMkLst>
            <pc:docMk/>
            <pc:sldMk cId="1428157349" sldId="261"/>
            <ac:spMk id="11" creationId="{15E584CD-1152-4A70-96DF-7B2CC75891B0}"/>
          </ac:spMkLst>
        </pc:spChg>
        <pc:spChg chg="del">
          <ac:chgData name="Sophie R" userId="80b66619546d9cdd" providerId="LiveId" clId="{7E607404-3467-44B6-89FA-395DAFE6A058}" dt="2021-06-05T13:24:25.183" v="3" actId="478"/>
          <ac:spMkLst>
            <pc:docMk/>
            <pc:sldMk cId="1428157349" sldId="261"/>
            <ac:spMk id="13" creationId="{9E3674F4-D545-4B3B-83B9-9E708F7CFA06}"/>
          </ac:spMkLst>
        </pc:spChg>
        <pc:spChg chg="mod">
          <ac:chgData name="Sophie R" userId="80b66619546d9cdd" providerId="LiveId" clId="{7E607404-3467-44B6-89FA-395DAFE6A058}" dt="2021-06-05T13:40:34.019" v="185" actId="20577"/>
          <ac:spMkLst>
            <pc:docMk/>
            <pc:sldMk cId="1428157349" sldId="261"/>
            <ac:spMk id="14" creationId="{18EECE3F-41B0-4138-9922-530686E70BDE}"/>
          </ac:spMkLst>
        </pc:spChg>
      </pc:sldChg>
      <pc:sldChg chg="del">
        <pc:chgData name="Sophie R" userId="80b66619546d9cdd" providerId="LiveId" clId="{7E607404-3467-44B6-89FA-395DAFE6A058}" dt="2021-06-08T09:14:16.825" v="186" actId="2696"/>
        <pc:sldMkLst>
          <pc:docMk/>
          <pc:sldMk cId="3609777096" sldId="262"/>
        </pc:sldMkLst>
      </pc:sldChg>
      <pc:sldChg chg="del">
        <pc:chgData name="Sophie R" userId="80b66619546d9cdd" providerId="LiveId" clId="{7E607404-3467-44B6-89FA-395DAFE6A058}" dt="2021-06-08T09:14:16.825" v="186" actId="2696"/>
        <pc:sldMkLst>
          <pc:docMk/>
          <pc:sldMk cId="1620666167" sldId="263"/>
        </pc:sldMkLst>
      </pc:sldChg>
      <pc:sldChg chg="del">
        <pc:chgData name="Sophie R" userId="80b66619546d9cdd" providerId="LiveId" clId="{7E607404-3467-44B6-89FA-395DAFE6A058}" dt="2021-06-08T09:14:16.825" v="186" actId="2696"/>
        <pc:sldMkLst>
          <pc:docMk/>
          <pc:sldMk cId="3206286563" sldId="265"/>
        </pc:sldMkLst>
      </pc:sldChg>
      <pc:sldChg chg="del">
        <pc:chgData name="Sophie R" userId="80b66619546d9cdd" providerId="LiveId" clId="{7E607404-3467-44B6-89FA-395DAFE6A058}" dt="2021-06-08T09:14:16.825" v="186" actId="2696"/>
        <pc:sldMkLst>
          <pc:docMk/>
          <pc:sldMk cId="2346496450" sldId="266"/>
        </pc:sldMkLst>
      </pc:sldChg>
      <pc:sldChg chg="del">
        <pc:chgData name="Sophie R" userId="80b66619546d9cdd" providerId="LiveId" clId="{7E607404-3467-44B6-89FA-395DAFE6A058}" dt="2021-06-08T09:14:16.825" v="186" actId="2696"/>
        <pc:sldMkLst>
          <pc:docMk/>
          <pc:sldMk cId="858010138" sldId="267"/>
        </pc:sldMkLst>
      </pc:sldChg>
      <pc:sldChg chg="del">
        <pc:chgData name="Sophie R" userId="80b66619546d9cdd" providerId="LiveId" clId="{7E607404-3467-44B6-89FA-395DAFE6A058}" dt="2021-06-08T09:14:16.825" v="186" actId="2696"/>
        <pc:sldMkLst>
          <pc:docMk/>
          <pc:sldMk cId="3529369640" sldId="272"/>
        </pc:sldMkLst>
      </pc:sldChg>
    </pc:docChg>
  </pc:docChgLst>
  <pc:docChgLst>
    <pc:chgData name="Sophie R" userId="80b66619546d9cdd" providerId="LiveId" clId="{06AF7E3D-3EFE-4C04-8A13-0E7279EB1616}"/>
    <pc:docChg chg="custSel addSld delSld modSld">
      <pc:chgData name="Sophie R" userId="80b66619546d9cdd" providerId="LiveId" clId="{06AF7E3D-3EFE-4C04-8A13-0E7279EB1616}" dt="2021-05-18T09:15:47.714" v="428" actId="2696"/>
      <pc:docMkLst>
        <pc:docMk/>
      </pc:docMkLst>
      <pc:sldChg chg="addSp delSp modSp del mod modShow">
        <pc:chgData name="Sophie R" userId="80b66619546d9cdd" providerId="LiveId" clId="{06AF7E3D-3EFE-4C04-8A13-0E7279EB1616}" dt="2021-05-18T09:15:47.714" v="428" actId="2696"/>
        <pc:sldMkLst>
          <pc:docMk/>
          <pc:sldMk cId="923092658" sldId="256"/>
        </pc:sldMkLst>
        <pc:spChg chg="mod">
          <ac:chgData name="Sophie R" userId="80b66619546d9cdd" providerId="LiveId" clId="{06AF7E3D-3EFE-4C04-8A13-0E7279EB1616}" dt="2021-05-18T09:02:37.059" v="391" actId="20577"/>
          <ac:spMkLst>
            <pc:docMk/>
            <pc:sldMk cId="923092658" sldId="256"/>
            <ac:spMk id="42" creationId="{3F934D5F-50D8-4474-B562-DF3FA4025E70}"/>
          </ac:spMkLst>
        </pc:spChg>
        <pc:picChg chg="add del mod">
          <ac:chgData name="Sophie R" userId="80b66619546d9cdd" providerId="LiveId" clId="{06AF7E3D-3EFE-4C04-8A13-0E7279EB1616}" dt="2021-05-18T08:41:30.369" v="3" actId="478"/>
          <ac:picMkLst>
            <pc:docMk/>
            <pc:sldMk cId="923092658" sldId="256"/>
            <ac:picMk id="4" creationId="{23D03ED9-2AF5-4878-8C1A-7E93C17A377B}"/>
          </ac:picMkLst>
        </pc:picChg>
        <pc:picChg chg="add mod">
          <ac:chgData name="Sophie R" userId="80b66619546d9cdd" providerId="LiveId" clId="{06AF7E3D-3EFE-4C04-8A13-0E7279EB1616}" dt="2021-05-18T08:42:06.337" v="7" actId="1076"/>
          <ac:picMkLst>
            <pc:docMk/>
            <pc:sldMk cId="923092658" sldId="256"/>
            <ac:picMk id="13" creationId="{FED82A85-5E2F-468A-A68F-6F25A02D300D}"/>
          </ac:picMkLst>
        </pc:picChg>
        <pc:picChg chg="add mod">
          <ac:chgData name="Sophie R" userId="80b66619546d9cdd" providerId="LiveId" clId="{06AF7E3D-3EFE-4C04-8A13-0E7279EB1616}" dt="2021-05-18T09:02:04.679" v="363" actId="1076"/>
          <ac:picMkLst>
            <pc:docMk/>
            <pc:sldMk cId="923092658" sldId="256"/>
            <ac:picMk id="15" creationId="{1F71A4FD-BF3C-439E-97D0-AD7ADFEE389B}"/>
          </ac:picMkLst>
        </pc:picChg>
      </pc:sldChg>
      <pc:sldChg chg="addSp modSp mod">
        <pc:chgData name="Sophie R" userId="80b66619546d9cdd" providerId="LiveId" clId="{06AF7E3D-3EFE-4C04-8A13-0E7279EB1616}" dt="2021-05-18T08:53:57.373" v="251" actId="1076"/>
        <pc:sldMkLst>
          <pc:docMk/>
          <pc:sldMk cId="1903498748" sldId="264"/>
        </pc:sldMkLst>
        <pc:picChg chg="add mod">
          <ac:chgData name="Sophie R" userId="80b66619546d9cdd" providerId="LiveId" clId="{06AF7E3D-3EFE-4C04-8A13-0E7279EB1616}" dt="2021-05-18T08:53:57.373" v="251" actId="1076"/>
          <ac:picMkLst>
            <pc:docMk/>
            <pc:sldMk cId="1903498748" sldId="264"/>
            <ac:picMk id="15" creationId="{7CDD245D-B3C6-4712-B810-0C276CADC31F}"/>
          </ac:picMkLst>
        </pc:picChg>
      </pc:sldChg>
      <pc:sldChg chg="addSp delSp modSp mod modShow">
        <pc:chgData name="Sophie R" userId="80b66619546d9cdd" providerId="LiveId" clId="{06AF7E3D-3EFE-4C04-8A13-0E7279EB1616}" dt="2021-05-18T09:15:21.779" v="427" actId="729"/>
        <pc:sldMkLst>
          <pc:docMk/>
          <pc:sldMk cId="3206286563" sldId="265"/>
        </pc:sldMkLst>
        <pc:spChg chg="del">
          <ac:chgData name="Sophie R" userId="80b66619546d9cdd" providerId="LiveId" clId="{06AF7E3D-3EFE-4C04-8A13-0E7279EB1616}" dt="2021-05-18T08:47:57.315" v="179" actId="478"/>
          <ac:spMkLst>
            <pc:docMk/>
            <pc:sldMk cId="3206286563" sldId="265"/>
            <ac:spMk id="5" creationId="{F57F3FDC-56F0-46F2-AE9A-2D40D8BF8DC3}"/>
          </ac:spMkLst>
        </pc:spChg>
        <pc:spChg chg="mod">
          <ac:chgData name="Sophie R" userId="80b66619546d9cdd" providerId="LiveId" clId="{06AF7E3D-3EFE-4C04-8A13-0E7279EB1616}" dt="2021-05-18T08:50:02.128" v="246" actId="20577"/>
          <ac:spMkLst>
            <pc:docMk/>
            <pc:sldMk cId="3206286563" sldId="265"/>
            <ac:spMk id="10" creationId="{8E719218-D015-448A-82BB-847EE5F5FC36}"/>
          </ac:spMkLst>
        </pc:spChg>
        <pc:spChg chg="mod">
          <ac:chgData name="Sophie R" userId="80b66619546d9cdd" providerId="LiveId" clId="{06AF7E3D-3EFE-4C04-8A13-0E7279EB1616}" dt="2021-05-18T08:59:35.527" v="357" actId="20577"/>
          <ac:spMkLst>
            <pc:docMk/>
            <pc:sldMk cId="3206286563" sldId="265"/>
            <ac:spMk id="11" creationId="{DA204BB5-7F5B-4CBC-A8BE-05C9171F391A}"/>
          </ac:spMkLst>
        </pc:spChg>
        <pc:spChg chg="mod">
          <ac:chgData name="Sophie R" userId="80b66619546d9cdd" providerId="LiveId" clId="{06AF7E3D-3EFE-4C04-8A13-0E7279EB1616}" dt="2021-05-18T08:49:10.222" v="237" actId="20577"/>
          <ac:spMkLst>
            <pc:docMk/>
            <pc:sldMk cId="3206286563" sldId="265"/>
            <ac:spMk id="13" creationId="{C879D979-8760-4086-A076-8922660BFB46}"/>
          </ac:spMkLst>
        </pc:spChg>
        <pc:picChg chg="add mod modCrop">
          <ac:chgData name="Sophie R" userId="80b66619546d9cdd" providerId="LiveId" clId="{06AF7E3D-3EFE-4C04-8A13-0E7279EB1616}" dt="2021-05-18T08:48:26.517" v="184" actId="1076"/>
          <ac:picMkLst>
            <pc:docMk/>
            <pc:sldMk cId="3206286563" sldId="265"/>
            <ac:picMk id="15" creationId="{AB3858DD-B51E-4C14-9BB8-FBA2E7B2DC1E}"/>
          </ac:picMkLst>
        </pc:picChg>
      </pc:sldChg>
      <pc:sldChg chg="addSp delSp modSp add del mod">
        <pc:chgData name="Sophie R" userId="80b66619546d9cdd" providerId="LiveId" clId="{06AF7E3D-3EFE-4C04-8A13-0E7279EB1616}" dt="2021-05-18T09:00:42.477" v="358" actId="1076"/>
        <pc:sldMkLst>
          <pc:docMk/>
          <pc:sldMk cId="245553637" sldId="269"/>
        </pc:sldMkLst>
        <pc:spChg chg="add mod">
          <ac:chgData name="Sophie R" userId="80b66619546d9cdd" providerId="LiveId" clId="{06AF7E3D-3EFE-4C04-8A13-0E7279EB1616}" dt="2021-05-18T08:56:11.257" v="352" actId="14100"/>
          <ac:spMkLst>
            <pc:docMk/>
            <pc:sldMk cId="245553637" sldId="269"/>
            <ac:spMk id="6" creationId="{87CAF0B5-0FA0-4F7E-89E8-D9ED88206D0C}"/>
          </ac:spMkLst>
        </pc:spChg>
        <pc:spChg chg="add mod">
          <ac:chgData name="Sophie R" userId="80b66619546d9cdd" providerId="LiveId" clId="{06AF7E3D-3EFE-4C04-8A13-0E7279EB1616}" dt="2021-05-18T08:55:53.688" v="348" actId="1076"/>
          <ac:spMkLst>
            <pc:docMk/>
            <pc:sldMk cId="245553637" sldId="269"/>
            <ac:spMk id="8" creationId="{594A487B-0BE1-40BB-AA3B-9F8B4A94700A}"/>
          </ac:spMkLst>
        </pc:spChg>
        <pc:spChg chg="mod">
          <ac:chgData name="Sophie R" userId="80b66619546d9cdd" providerId="LiveId" clId="{06AF7E3D-3EFE-4C04-8A13-0E7279EB1616}" dt="2021-05-18T08:56:07.835" v="351" actId="1076"/>
          <ac:spMkLst>
            <pc:docMk/>
            <pc:sldMk cId="245553637" sldId="269"/>
            <ac:spMk id="12" creationId="{7CC7C9A7-C049-794C-A3AB-31E4A9F4A19F}"/>
          </ac:spMkLst>
        </pc:spChg>
        <pc:spChg chg="add mod">
          <ac:chgData name="Sophie R" userId="80b66619546d9cdd" providerId="LiveId" clId="{06AF7E3D-3EFE-4C04-8A13-0E7279EB1616}" dt="2021-05-18T08:56:01.331" v="350" actId="1076"/>
          <ac:spMkLst>
            <pc:docMk/>
            <pc:sldMk cId="245553637" sldId="269"/>
            <ac:spMk id="15" creationId="{2B2FCF38-B239-470B-A1A3-25E1FF075A41}"/>
          </ac:spMkLst>
        </pc:spChg>
        <pc:spChg chg="add mod">
          <ac:chgData name="Sophie R" userId="80b66619546d9cdd" providerId="LiveId" clId="{06AF7E3D-3EFE-4C04-8A13-0E7279EB1616}" dt="2021-05-18T08:55:40.312" v="335" actId="20577"/>
          <ac:spMkLst>
            <pc:docMk/>
            <pc:sldMk cId="245553637" sldId="269"/>
            <ac:spMk id="16" creationId="{DEAF53B8-21B4-4230-B421-2E6B2E8A50C0}"/>
          </ac:spMkLst>
        </pc:spChg>
        <pc:spChg chg="add mod">
          <ac:chgData name="Sophie R" userId="80b66619546d9cdd" providerId="LiveId" clId="{06AF7E3D-3EFE-4C04-8A13-0E7279EB1616}" dt="2021-05-18T08:55:48.232" v="347" actId="20577"/>
          <ac:spMkLst>
            <pc:docMk/>
            <pc:sldMk cId="245553637" sldId="269"/>
            <ac:spMk id="18" creationId="{FE8E83A9-0E56-4EA7-AB12-FD3329700AB1}"/>
          </ac:spMkLst>
        </pc:spChg>
        <pc:picChg chg="mod">
          <ac:chgData name="Sophie R" userId="80b66619546d9cdd" providerId="LiveId" clId="{06AF7E3D-3EFE-4C04-8A13-0E7279EB1616}" dt="2021-05-18T08:55:56.515" v="349" actId="1076"/>
          <ac:picMkLst>
            <pc:docMk/>
            <pc:sldMk cId="245553637" sldId="269"/>
            <ac:picMk id="13" creationId="{7C5C19C7-3C2D-F44F-9FB8-5D179D3DFB2C}"/>
          </ac:picMkLst>
        </pc:picChg>
        <pc:picChg chg="mod">
          <ac:chgData name="Sophie R" userId="80b66619546d9cdd" providerId="LiveId" clId="{06AF7E3D-3EFE-4C04-8A13-0E7279EB1616}" dt="2021-05-18T09:00:42.477" v="358" actId="1076"/>
          <ac:picMkLst>
            <pc:docMk/>
            <pc:sldMk cId="245553637" sldId="269"/>
            <ac:picMk id="14" creationId="{8B952518-427B-47C7-AD2C-5DF93332F0F5}"/>
          </ac:picMkLst>
        </pc:picChg>
        <pc:picChg chg="del">
          <ac:chgData name="Sophie R" userId="80b66619546d9cdd" providerId="LiveId" clId="{06AF7E3D-3EFE-4C04-8A13-0E7279EB1616}" dt="2021-05-18T08:55:04.416" v="272" actId="478"/>
          <ac:picMkLst>
            <pc:docMk/>
            <pc:sldMk cId="245553637" sldId="269"/>
            <ac:picMk id="12290" creationId="{00710D30-3468-45FC-99F3-2B35E90DC2D8}"/>
          </ac:picMkLst>
        </pc:picChg>
      </pc:sldChg>
      <pc:sldChg chg="addSp">
        <pc:chgData name="Sophie R" userId="80b66619546d9cdd" providerId="LiveId" clId="{06AF7E3D-3EFE-4C04-8A13-0E7279EB1616}" dt="2021-05-18T08:55:02.692" v="270"/>
        <pc:sldMkLst>
          <pc:docMk/>
          <pc:sldMk cId="2320251515" sldId="269"/>
        </pc:sldMkLst>
        <pc:picChg chg="add">
          <ac:chgData name="Sophie R" userId="80b66619546d9cdd" providerId="LiveId" clId="{06AF7E3D-3EFE-4C04-8A13-0E7279EB1616}" dt="2021-05-18T08:55:02.692" v="270"/>
          <ac:picMkLst>
            <pc:docMk/>
            <pc:sldMk cId="2320251515" sldId="269"/>
            <ac:picMk id="12290" creationId="{00710D30-3468-45FC-99F3-2B35E90DC2D8}"/>
          </ac:picMkLst>
        </pc:picChg>
      </pc:sldChg>
      <pc:sldChg chg="addSp delSp modSp add mod modShow">
        <pc:chgData name="Sophie R" userId="80b66619546d9cdd" providerId="LiveId" clId="{06AF7E3D-3EFE-4C04-8A13-0E7279EB1616}" dt="2021-05-18T09:15:03.799" v="425" actId="1076"/>
        <pc:sldMkLst>
          <pc:docMk/>
          <pc:sldMk cId="1670493753" sldId="270"/>
        </pc:sldMkLst>
        <pc:spChg chg="mod">
          <ac:chgData name="Sophie R" userId="80b66619546d9cdd" providerId="LiveId" clId="{06AF7E3D-3EFE-4C04-8A13-0E7279EB1616}" dt="2021-05-18T09:12:41.163" v="413" actId="1076"/>
          <ac:spMkLst>
            <pc:docMk/>
            <pc:sldMk cId="1670493753" sldId="270"/>
            <ac:spMk id="3" creationId="{8DF29B61-8FDA-4C96-9087-F31D51E40380}"/>
          </ac:spMkLst>
        </pc:spChg>
        <pc:spChg chg="mod">
          <ac:chgData name="Sophie R" userId="80b66619546d9cdd" providerId="LiveId" clId="{06AF7E3D-3EFE-4C04-8A13-0E7279EB1616}" dt="2021-05-18T09:13:18.159" v="420" actId="1076"/>
          <ac:spMkLst>
            <pc:docMk/>
            <pc:sldMk cId="1670493753" sldId="270"/>
            <ac:spMk id="41" creationId="{490874DD-DD9A-4D3E-97B6-7543C353CE44}"/>
          </ac:spMkLst>
        </pc:spChg>
        <pc:picChg chg="add mod">
          <ac:chgData name="Sophie R" userId="80b66619546d9cdd" providerId="LiveId" clId="{06AF7E3D-3EFE-4C04-8A13-0E7279EB1616}" dt="2021-05-18T09:13:20.557" v="421" actId="1076"/>
          <ac:picMkLst>
            <pc:docMk/>
            <pc:sldMk cId="1670493753" sldId="270"/>
            <ac:picMk id="7" creationId="{6DBA2AE9-1606-4F75-8504-042B2DF04DF5}"/>
          </ac:picMkLst>
        </pc:picChg>
        <pc:picChg chg="add mod">
          <ac:chgData name="Sophie R" userId="80b66619546d9cdd" providerId="LiveId" clId="{06AF7E3D-3EFE-4C04-8A13-0E7279EB1616}" dt="2021-05-18T09:13:18.159" v="420" actId="1076"/>
          <ac:picMkLst>
            <pc:docMk/>
            <pc:sldMk cId="1670493753" sldId="270"/>
            <ac:picMk id="11" creationId="{DC89E92D-7004-4C75-B538-2BC0DBCE8827}"/>
          </ac:picMkLst>
        </pc:picChg>
        <pc:picChg chg="add mod">
          <ac:chgData name="Sophie R" userId="80b66619546d9cdd" providerId="LiveId" clId="{06AF7E3D-3EFE-4C04-8A13-0E7279EB1616}" dt="2021-05-18T09:13:18.159" v="420" actId="1076"/>
          <ac:picMkLst>
            <pc:docMk/>
            <pc:sldMk cId="1670493753" sldId="270"/>
            <ac:picMk id="14" creationId="{519E1A57-A755-4B19-865B-7DC7542AD9E1}"/>
          </ac:picMkLst>
        </pc:picChg>
        <pc:picChg chg="del">
          <ac:chgData name="Sophie R" userId="80b66619546d9cdd" providerId="LiveId" clId="{06AF7E3D-3EFE-4C04-8A13-0E7279EB1616}" dt="2021-05-18T09:10:09.389" v="393" actId="478"/>
          <ac:picMkLst>
            <pc:docMk/>
            <pc:sldMk cId="1670493753" sldId="270"/>
            <ac:picMk id="15" creationId="{1F71A4FD-BF3C-439E-97D0-AD7ADFEE389B}"/>
          </ac:picMkLst>
        </pc:picChg>
        <pc:picChg chg="add mod">
          <ac:chgData name="Sophie R" userId="80b66619546d9cdd" providerId="LiveId" clId="{06AF7E3D-3EFE-4C04-8A13-0E7279EB1616}" dt="2021-05-18T09:13:18.159" v="420" actId="1076"/>
          <ac:picMkLst>
            <pc:docMk/>
            <pc:sldMk cId="1670493753" sldId="270"/>
            <ac:picMk id="17" creationId="{8C3A45F0-6BD5-4320-B6C1-635D282F1859}"/>
          </ac:picMkLst>
        </pc:picChg>
        <pc:cxnChg chg="add mod">
          <ac:chgData name="Sophie R" userId="80b66619546d9cdd" providerId="LiveId" clId="{06AF7E3D-3EFE-4C04-8A13-0E7279EB1616}" dt="2021-05-18T09:15:03.799" v="425" actId="1076"/>
          <ac:cxnSpMkLst>
            <pc:docMk/>
            <pc:sldMk cId="1670493753" sldId="270"/>
            <ac:cxnSpMk id="25" creationId="{C0F56A88-1F70-4EAC-AC38-0F3663878D4F}"/>
          </ac:cxnSpMkLst>
        </pc:cxnChg>
        <pc:cxnChg chg="add mod">
          <ac:chgData name="Sophie R" userId="80b66619546d9cdd" providerId="LiveId" clId="{06AF7E3D-3EFE-4C04-8A13-0E7279EB1616}" dt="2021-05-18T09:13:18.159" v="420" actId="1076"/>
          <ac:cxnSpMkLst>
            <pc:docMk/>
            <pc:sldMk cId="1670493753" sldId="270"/>
            <ac:cxnSpMk id="29" creationId="{801EEF1C-FA28-4F79-970D-276497BF2DBF}"/>
          </ac:cxnSpMkLst>
        </pc:cxnChg>
        <pc:cxnChg chg="add mod">
          <ac:chgData name="Sophie R" userId="80b66619546d9cdd" providerId="LiveId" clId="{06AF7E3D-3EFE-4C04-8A13-0E7279EB1616}" dt="2021-05-18T09:13:55.394" v="423" actId="1076"/>
          <ac:cxnSpMkLst>
            <pc:docMk/>
            <pc:sldMk cId="1670493753" sldId="270"/>
            <ac:cxnSpMk id="31" creationId="{03534D3E-5CE3-4A0A-9532-9C30C698414A}"/>
          </ac:cxnSpMkLst>
        </pc:cxnChg>
      </pc:sldChg>
      <pc:sldChg chg="mod modShow">
        <pc:chgData name="Sophie R" userId="80b66619546d9cdd" providerId="LiveId" clId="{06AF7E3D-3EFE-4C04-8A13-0E7279EB1616}" dt="2021-05-18T09:15:16.182" v="426" actId="729"/>
        <pc:sldMkLst>
          <pc:docMk/>
          <pc:sldMk cId="1556841118" sldId="271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8 June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8 June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tags" Target="../tags/tag103.xml"/><Relationship Id="rId18" Type="http://schemas.openxmlformats.org/officeDocument/2006/relationships/image" Target="../media/image4.jpeg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17" Type="http://schemas.openxmlformats.org/officeDocument/2006/relationships/image" Target="../media/image3.jpeg"/><Relationship Id="rId2" Type="http://schemas.openxmlformats.org/officeDocument/2006/relationships/tags" Target="../tags/tag92.xml"/><Relationship Id="rId16" Type="http://schemas.openxmlformats.org/officeDocument/2006/relationships/image" Target="../media/image5.emf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5" Type="http://schemas.openxmlformats.org/officeDocument/2006/relationships/tags" Target="../tags/tag95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100.xml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image" Target="../media/image4.jpeg"/><Relationship Id="rId2" Type="http://schemas.openxmlformats.org/officeDocument/2006/relationships/tags" Target="../tags/tag105.xml"/><Relationship Id="rId16" Type="http://schemas.openxmlformats.org/officeDocument/2006/relationships/image" Target="../media/image3.jpeg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image" Target="../media/image1.emf"/><Relationship Id="rId10" Type="http://schemas.openxmlformats.org/officeDocument/2006/relationships/tags" Target="../tags/tag113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1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5" Type="http://schemas.openxmlformats.org/officeDocument/2006/relationships/tags" Target="../tags/tag120.xml"/><Relationship Id="rId4" Type="http://schemas.openxmlformats.org/officeDocument/2006/relationships/tags" Target="../tags/tag119.xml"/><Relationship Id="rId9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image" Target="../media/image4.jpe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image" Target="../media/image3.jpeg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4.jpe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4.jpe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3.xml"/><Relationship Id="rId4" Type="http://schemas.openxmlformats.org/officeDocument/2006/relationships/tags" Target="../tags/tag5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image" Target="../media/image4.jpeg"/><Relationship Id="rId2" Type="http://schemas.openxmlformats.org/officeDocument/2006/relationships/tags" Target="../tags/tag55.xml"/><Relationship Id="rId16" Type="http://schemas.openxmlformats.org/officeDocument/2006/relationships/image" Target="../media/image3.jpeg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image" Target="../media/image1.emf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image" Target="../media/image4.jpeg"/><Relationship Id="rId2" Type="http://schemas.openxmlformats.org/officeDocument/2006/relationships/tags" Target="../tags/tag67.xml"/><Relationship Id="rId16" Type="http://schemas.openxmlformats.org/officeDocument/2006/relationships/image" Target="../media/image3.jpeg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5" Type="http://schemas.openxmlformats.org/officeDocument/2006/relationships/image" Target="../media/image1.emf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18" Type="http://schemas.openxmlformats.org/officeDocument/2006/relationships/image" Target="../media/image4.jpeg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image" Target="../media/image3.jpeg"/><Relationship Id="rId2" Type="http://schemas.openxmlformats.org/officeDocument/2006/relationships/tags" Target="../tags/tag79.xml"/><Relationship Id="rId16" Type="http://schemas.openxmlformats.org/officeDocument/2006/relationships/image" Target="../media/image1.emf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44" imgH="344" progId="TCLayout.ActiveDocument.1">
                  <p:embed/>
                </p:oleObj>
              </mc:Choice>
              <mc:Fallback>
                <p:oleObj name="think-cell Folie" r:id="rId8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572" imgH="588" progId="TCLayout.ActiveDocument.1">
                  <p:embed/>
                </p:oleObj>
              </mc:Choice>
              <mc:Fallback>
                <p:oleObj name="think-cell Folie" r:id="rId15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pic>
        <p:nvPicPr>
          <p:cNvPr id="15" name="Picture 2" descr="Deutsches Rotes Kreuz - DRK e.V.">
            <a:extLst>
              <a:ext uri="{FF2B5EF4-FFF2-40B4-BE49-F238E27FC236}">
                <a16:creationId xmlns:a16="http://schemas.microsoft.com/office/drawing/2014/main" id="{FDAEF03A-5900-6940-A614-635AA6D933B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1" t="17458" r="7090" b="15759"/>
          <a:stretch/>
        </p:blipFill>
        <p:spPr bwMode="auto">
          <a:xfrm>
            <a:off x="551942" y="6528523"/>
            <a:ext cx="670276" cy="22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28/20) Neuer Markenauftritt der Hochschule München - Aktuelles - News">
            <a:extLst>
              <a:ext uri="{FF2B5EF4-FFF2-40B4-BE49-F238E27FC236}">
                <a16:creationId xmlns:a16="http://schemas.microsoft.com/office/drawing/2014/main" id="{4E2921FF-1C5E-F747-8380-D014E370873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7483" y="6498754"/>
            <a:ext cx="620291" cy="28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13" imgH="416" progId="TCLayout.ActiveDocument.1">
                  <p:embed/>
                </p:oleObj>
              </mc:Choice>
              <mc:Fallback>
                <p:oleObj name="think-cell Foli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pic>
        <p:nvPicPr>
          <p:cNvPr id="14" name="Picture 2" descr="Deutsches Rotes Kreuz - DRK e.V.">
            <a:extLst>
              <a:ext uri="{FF2B5EF4-FFF2-40B4-BE49-F238E27FC236}">
                <a16:creationId xmlns:a16="http://schemas.microsoft.com/office/drawing/2014/main" id="{8B64753C-D03B-C546-8C98-4279DED30C1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1" t="17458" r="7090" b="15759"/>
          <a:stretch/>
        </p:blipFill>
        <p:spPr bwMode="auto">
          <a:xfrm>
            <a:off x="551942" y="6528523"/>
            <a:ext cx="670276" cy="22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28/20) Neuer Markenauftritt der Hochschule München - Aktuelles - News">
            <a:extLst>
              <a:ext uri="{FF2B5EF4-FFF2-40B4-BE49-F238E27FC236}">
                <a16:creationId xmlns:a16="http://schemas.microsoft.com/office/drawing/2014/main" id="{D829463E-09A4-6F41-BFA8-23C29156418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7483" y="6498754"/>
            <a:ext cx="620291" cy="28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pic>
        <p:nvPicPr>
          <p:cNvPr id="8" name="Picture 2" descr="Deutsches Rotes Kreuz - DRK e.V.">
            <a:extLst>
              <a:ext uri="{FF2B5EF4-FFF2-40B4-BE49-F238E27FC236}">
                <a16:creationId xmlns:a16="http://schemas.microsoft.com/office/drawing/2014/main" id="{2D194293-32BB-8A40-B1A9-FDB11D5FA69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1" t="17458" r="7090" b="15759"/>
          <a:stretch/>
        </p:blipFill>
        <p:spPr bwMode="auto">
          <a:xfrm>
            <a:off x="551942" y="6528523"/>
            <a:ext cx="670276" cy="22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28/20) Neuer Markenauftritt der Hochschule München - Aktuelles - News">
            <a:extLst>
              <a:ext uri="{FF2B5EF4-FFF2-40B4-BE49-F238E27FC236}">
                <a16:creationId xmlns:a16="http://schemas.microsoft.com/office/drawing/2014/main" id="{8222251E-4CAD-6F4B-A897-EA41677EFB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7483" y="6498754"/>
            <a:ext cx="620291" cy="28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413" imgH="416" progId="TCLayout.ActiveDocument.1">
                  <p:embed/>
                </p:oleObj>
              </mc:Choice>
              <mc:Fallback>
                <p:oleObj name="think-cell Foli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pic>
        <p:nvPicPr>
          <p:cNvPr id="11" name="Picture 2" descr="Deutsches Rotes Kreuz - DRK e.V.">
            <a:extLst>
              <a:ext uri="{FF2B5EF4-FFF2-40B4-BE49-F238E27FC236}">
                <a16:creationId xmlns:a16="http://schemas.microsoft.com/office/drawing/2014/main" id="{F53507FF-048E-3247-9C5E-EC855E05650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1" t="17458" r="7090" b="15759"/>
          <a:stretch/>
        </p:blipFill>
        <p:spPr bwMode="auto">
          <a:xfrm>
            <a:off x="551942" y="6528523"/>
            <a:ext cx="670276" cy="22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28/20) Neuer Markenauftritt der Hochschule München - Aktuelles - News">
            <a:extLst>
              <a:ext uri="{FF2B5EF4-FFF2-40B4-BE49-F238E27FC236}">
                <a16:creationId xmlns:a16="http://schemas.microsoft.com/office/drawing/2014/main" id="{0B1B0D94-D6E6-5F41-9F72-362F9CCFD0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7483" y="6498754"/>
            <a:ext cx="620291" cy="28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pic>
        <p:nvPicPr>
          <p:cNvPr id="8" name="Picture 2" descr="Deutsches Rotes Kreuz - DRK e.V.">
            <a:extLst>
              <a:ext uri="{FF2B5EF4-FFF2-40B4-BE49-F238E27FC236}">
                <a16:creationId xmlns:a16="http://schemas.microsoft.com/office/drawing/2014/main" id="{FE427B76-2727-5643-B09F-B254EE90053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1" t="17458" r="7090" b="15759"/>
          <a:stretch/>
        </p:blipFill>
        <p:spPr bwMode="auto">
          <a:xfrm>
            <a:off x="551942" y="6528523"/>
            <a:ext cx="670276" cy="22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28/20) Neuer Markenauftritt der Hochschule München - Aktuelles - News">
            <a:extLst>
              <a:ext uri="{FF2B5EF4-FFF2-40B4-BE49-F238E27FC236}">
                <a16:creationId xmlns:a16="http://schemas.microsoft.com/office/drawing/2014/main" id="{F94D8EAD-41CB-474C-94DA-7E9CD9084B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7483" y="6498754"/>
            <a:ext cx="620291" cy="28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pic>
        <p:nvPicPr>
          <p:cNvPr id="7" name="Picture 2" descr="Deutsches Rotes Kreuz - DRK e.V.">
            <a:extLst>
              <a:ext uri="{FF2B5EF4-FFF2-40B4-BE49-F238E27FC236}">
                <a16:creationId xmlns:a16="http://schemas.microsoft.com/office/drawing/2014/main" id="{7A6BCCD4-2B76-5142-8136-0A3EF601B4A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1" t="17458" r="7090" b="15759"/>
          <a:stretch/>
        </p:blipFill>
        <p:spPr bwMode="auto">
          <a:xfrm>
            <a:off x="551942" y="6528523"/>
            <a:ext cx="670276" cy="22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28/20) Neuer Markenauftritt der Hochschule München - Aktuelles - News">
            <a:extLst>
              <a:ext uri="{FF2B5EF4-FFF2-40B4-BE49-F238E27FC236}">
                <a16:creationId xmlns:a16="http://schemas.microsoft.com/office/drawing/2014/main" id="{0B746D77-2B72-E04D-A87A-7A45BE4408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7483" y="6498754"/>
            <a:ext cx="620291" cy="28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13" imgH="416" progId="TCLayout.ActiveDocument.1">
                  <p:embed/>
                </p:oleObj>
              </mc:Choice>
              <mc:Fallback>
                <p:oleObj name="think-cell Foli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pic>
        <p:nvPicPr>
          <p:cNvPr id="15" name="Picture 2" descr="Deutsches Rotes Kreuz - DRK e.V.">
            <a:extLst>
              <a:ext uri="{FF2B5EF4-FFF2-40B4-BE49-F238E27FC236}">
                <a16:creationId xmlns:a16="http://schemas.microsoft.com/office/drawing/2014/main" id="{DBFB5C31-984D-074E-9CE0-5C4A3B68977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1" t="17458" r="7090" b="15759"/>
          <a:stretch/>
        </p:blipFill>
        <p:spPr bwMode="auto">
          <a:xfrm>
            <a:off x="551942" y="6528523"/>
            <a:ext cx="670276" cy="22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28/20) Neuer Markenauftritt der Hochschule München - Aktuelles - News">
            <a:extLst>
              <a:ext uri="{FF2B5EF4-FFF2-40B4-BE49-F238E27FC236}">
                <a16:creationId xmlns:a16="http://schemas.microsoft.com/office/drawing/2014/main" id="{1654AA66-F005-EF4D-8DDB-39247EB5FF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7483" y="6498754"/>
            <a:ext cx="620291" cy="28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13" imgH="416" progId="TCLayout.ActiveDocument.1">
                  <p:embed/>
                </p:oleObj>
              </mc:Choice>
              <mc:Fallback>
                <p:oleObj name="think-cell Foli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pic>
        <p:nvPicPr>
          <p:cNvPr id="15" name="Picture 2" descr="Deutsches Rotes Kreuz - DRK e.V.">
            <a:extLst>
              <a:ext uri="{FF2B5EF4-FFF2-40B4-BE49-F238E27FC236}">
                <a16:creationId xmlns:a16="http://schemas.microsoft.com/office/drawing/2014/main" id="{612C360F-05F8-4843-B2A3-8276079CE8B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1" t="17458" r="7090" b="15759"/>
          <a:stretch/>
        </p:blipFill>
        <p:spPr bwMode="auto">
          <a:xfrm>
            <a:off x="551942" y="6528523"/>
            <a:ext cx="670276" cy="22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28/20) Neuer Markenauftritt der Hochschule München - Aktuelles - News">
            <a:extLst>
              <a:ext uri="{FF2B5EF4-FFF2-40B4-BE49-F238E27FC236}">
                <a16:creationId xmlns:a16="http://schemas.microsoft.com/office/drawing/2014/main" id="{0D1402CD-BA8B-BC4A-A326-46DDCD77A7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7483" y="6498754"/>
            <a:ext cx="620291" cy="28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413" imgH="416" progId="TCLayout.ActiveDocument.1">
                  <p:embed/>
                </p:oleObj>
              </mc:Choice>
              <mc:Fallback>
                <p:oleObj name="think-cell Foli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pic>
        <p:nvPicPr>
          <p:cNvPr id="17" name="Picture 2" descr="Deutsches Rotes Kreuz - DRK e.V.">
            <a:extLst>
              <a:ext uri="{FF2B5EF4-FFF2-40B4-BE49-F238E27FC236}">
                <a16:creationId xmlns:a16="http://schemas.microsoft.com/office/drawing/2014/main" id="{EDC2DF18-A04C-7143-AA0D-CB63F77BEF5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1" t="17458" r="7090" b="15759"/>
          <a:stretch/>
        </p:blipFill>
        <p:spPr bwMode="auto">
          <a:xfrm>
            <a:off x="551942" y="6528523"/>
            <a:ext cx="670276" cy="22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" descr="28/20) Neuer Markenauftritt der Hochschule München - Aktuelles - News">
            <a:extLst>
              <a:ext uri="{FF2B5EF4-FFF2-40B4-BE49-F238E27FC236}">
                <a16:creationId xmlns:a16="http://schemas.microsoft.com/office/drawing/2014/main" id="{7906053D-3CE8-7846-8ED8-64D62299CB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7483" y="6498754"/>
            <a:ext cx="620291" cy="28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tags" Target="../tags/tag23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13112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413" imgH="416" progId="TCLayout.ActiveDocument.1">
                  <p:embed/>
                </p:oleObj>
              </mc:Choice>
              <mc:Fallback>
                <p:oleObj name="think-cell Folie" r:id="rId3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7.xml"/><Relationship Id="rId6" Type="http://schemas.openxmlformats.org/officeDocument/2006/relationships/image" Target="../media/image3.jpeg"/><Relationship Id="rId5" Type="http://schemas.openxmlformats.org/officeDocument/2006/relationships/image" Target="../media/image7.jpeg"/><Relationship Id="rId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1.jpeg"/><Relationship Id="rId12" Type="http://schemas.openxmlformats.org/officeDocument/2006/relationships/image" Target="../media/image1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8.x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0" Type="http://schemas.openxmlformats.org/officeDocument/2006/relationships/image" Target="../media/image14.jpeg"/><Relationship Id="rId4" Type="http://schemas.openxmlformats.org/officeDocument/2006/relationships/image" Target="../media/image8.emf"/><Relationship Id="rId9" Type="http://schemas.openxmlformats.org/officeDocument/2006/relationships/image" Target="../media/image13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png"/><Relationship Id="rId18" Type="http://schemas.openxmlformats.org/officeDocument/2006/relationships/image" Target="../media/image31.sv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17" Type="http://schemas.openxmlformats.org/officeDocument/2006/relationships/image" Target="../media/image30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29.svg"/><Relationship Id="rId20" Type="http://schemas.openxmlformats.org/officeDocument/2006/relationships/image" Target="../media/image33.svg"/><Relationship Id="rId1" Type="http://schemas.openxmlformats.org/officeDocument/2006/relationships/tags" Target="../tags/tag129.xml"/><Relationship Id="rId6" Type="http://schemas.openxmlformats.org/officeDocument/2006/relationships/image" Target="../media/image19.sv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svg"/><Relationship Id="rId19" Type="http://schemas.openxmlformats.org/officeDocument/2006/relationships/image" Target="../media/image32.png"/><Relationship Id="rId4" Type="http://schemas.openxmlformats.org/officeDocument/2006/relationships/image" Target="../media/image17.emf"/><Relationship Id="rId9" Type="http://schemas.openxmlformats.org/officeDocument/2006/relationships/image" Target="../media/image22.png"/><Relationship Id="rId14" Type="http://schemas.openxmlformats.org/officeDocument/2006/relationships/image" Target="../media/image27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37.svg"/><Relationship Id="rId12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0.xml"/><Relationship Id="rId6" Type="http://schemas.openxmlformats.org/officeDocument/2006/relationships/image" Target="../media/image36.png"/><Relationship Id="rId11" Type="http://schemas.openxmlformats.org/officeDocument/2006/relationships/image" Target="../media/image41.svg"/><Relationship Id="rId5" Type="http://schemas.openxmlformats.org/officeDocument/2006/relationships/image" Target="../media/image35.png"/><Relationship Id="rId10" Type="http://schemas.openxmlformats.org/officeDocument/2006/relationships/image" Target="../media/image40.png"/><Relationship Id="rId4" Type="http://schemas.openxmlformats.org/officeDocument/2006/relationships/image" Target="../media/image34.emf"/><Relationship Id="rId9" Type="http://schemas.openxmlformats.org/officeDocument/2006/relationships/image" Target="../media/image3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6.jpeg"/><Relationship Id="rId5" Type="http://schemas.openxmlformats.org/officeDocument/2006/relationships/image" Target="../media/image45.svg"/><Relationship Id="rId4" Type="http://schemas.openxmlformats.org/officeDocument/2006/relationships/image" Target="../media/image4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D108F87-82DE-A349-8287-1A9757E140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7061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D108F87-82DE-A349-8287-1A9757E140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44E57542-C911-0544-BA5F-5FF555FCA82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730" b="7730"/>
          <a:stretch/>
        </p:blipFill>
        <p:spPr>
          <a:xfrm>
            <a:off x="0" y="0"/>
            <a:ext cx="12189600" cy="685665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2EE4BDAB-FAEB-0A40-ACA5-DD64C315D46C}"/>
              </a:ext>
            </a:extLst>
          </p:cNvPr>
          <p:cNvSpPr/>
          <p:nvPr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>
              <a:alpha val="88048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err="1">
              <a:solidFill>
                <a:schemeClr val="bg1"/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E491D25-01C4-8A4D-BC2D-309212F486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4736" y="4510168"/>
            <a:ext cx="6016752" cy="512327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de-DE">
                <a:cs typeface="Arial"/>
              </a:rPr>
              <a:t>Leonie Blum, Sebastian Braun, </a:t>
            </a:r>
            <a:r>
              <a:rPr lang="de-DE">
                <a:ea typeface="+mn-lt"/>
                <a:cs typeface="+mn-lt"/>
              </a:rPr>
              <a:t>Theodor Faulhaber,</a:t>
            </a:r>
            <a:r>
              <a:rPr lang="de-DE">
                <a:cs typeface="Arial"/>
              </a:rPr>
              <a:t> Jan Lorenz, Victoria Maier, Lena Mündel, Andreas </a:t>
            </a:r>
            <a:r>
              <a:rPr lang="de-DE" err="1">
                <a:cs typeface="Arial"/>
              </a:rPr>
              <a:t>Nimmerfroh</a:t>
            </a:r>
            <a:r>
              <a:rPr lang="de-DE">
                <a:cs typeface="Arial"/>
              </a:rPr>
              <a:t>, Sophie Roth</a:t>
            </a:r>
            <a:endParaRPr lang="de-DE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1F2AB265-DB18-644D-B78E-168827F1742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r>
              <a:rPr lang="de-DE">
                <a:cs typeface="Arial"/>
              </a:rPr>
              <a:t>Team 4</a:t>
            </a:r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6B65C36-12ED-4145-B3E0-10E4626FF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Die Umsetzung</a:t>
            </a:r>
          </a:p>
        </p:txBody>
      </p:sp>
      <p:pic>
        <p:nvPicPr>
          <p:cNvPr id="16386" name="Picture 2" descr="Deutsches Rotes Kreuz - DRK e.V.">
            <a:extLst>
              <a:ext uri="{FF2B5EF4-FFF2-40B4-BE49-F238E27FC236}">
                <a16:creationId xmlns:a16="http://schemas.microsoft.com/office/drawing/2014/main" id="{412D0709-FE1D-364B-A5E1-81D405D3B0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1" t="17458" r="7090" b="15759"/>
          <a:stretch/>
        </p:blipFill>
        <p:spPr bwMode="auto">
          <a:xfrm>
            <a:off x="551942" y="5365018"/>
            <a:ext cx="2629912" cy="890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A67EA19A-C908-4E5A-A22D-617B9DC33DAF}"/>
              </a:ext>
            </a:extLst>
          </p:cNvPr>
          <p:cNvSpPr txBox="1"/>
          <p:nvPr/>
        </p:nvSpPr>
        <p:spPr>
          <a:xfrm>
            <a:off x="10008919" y="6515595"/>
            <a:ext cx="2050473" cy="24622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sz="1600"/>
              <a:t>München, 18.05.2021</a:t>
            </a:r>
            <a:endParaRPr lang="de-DE"/>
          </a:p>
        </p:txBody>
      </p:sp>
      <p:pic>
        <p:nvPicPr>
          <p:cNvPr id="10243" name="Picture 3" descr="28/20) Neuer Markenauftritt der Hochschule München - Aktuelles - News">
            <a:extLst>
              <a:ext uri="{FF2B5EF4-FFF2-40B4-BE49-F238E27FC236}">
                <a16:creationId xmlns:a16="http://schemas.microsoft.com/office/drawing/2014/main" id="{03E01B83-B1F0-0A45-A40A-37B68724D8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372" y="5248216"/>
            <a:ext cx="2433790" cy="1123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57103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7998B65-90AB-BA45-B124-9D453AA64D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4548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7998B65-90AB-BA45-B124-9D453AA64D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448C78-051B-C64F-AC36-E880241174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eamvorstellung – Gruppe 4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D4A67F2-954B-C540-9A42-DB7206775F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884725"/>
            <a:ext cx="11082528" cy="276999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A2A1EB-38B0-3841-9D0C-C72EAABF79B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8128788-0D8B-D94B-B7CF-E321217A91E7}"/>
              </a:ext>
            </a:extLst>
          </p:cNvPr>
          <p:cNvPicPr>
            <a:picLocks/>
          </p:cNvPicPr>
          <p:nvPr/>
        </p:nvPicPr>
        <p:blipFill rotWithShape="1">
          <a:blip r:embed="rId5"/>
          <a:srcRect t="5584" b="27792"/>
          <a:stretch/>
        </p:blipFill>
        <p:spPr>
          <a:xfrm>
            <a:off x="3854835" y="1530878"/>
            <a:ext cx="1510353" cy="1510353"/>
          </a:xfrm>
          <a:prstGeom prst="ellipse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789CA92-C8A6-0A45-82FF-08CB96C867A2}"/>
              </a:ext>
            </a:extLst>
          </p:cNvPr>
          <p:cNvPicPr>
            <a:picLocks/>
          </p:cNvPicPr>
          <p:nvPr/>
        </p:nvPicPr>
        <p:blipFill rotWithShape="1">
          <a:blip r:embed="rId6"/>
          <a:srcRect l="-552" r="552"/>
          <a:stretch/>
        </p:blipFill>
        <p:spPr>
          <a:xfrm>
            <a:off x="987560" y="1530878"/>
            <a:ext cx="1510353" cy="1510353"/>
          </a:xfrm>
          <a:prstGeom prst="ellipse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F228C95-F371-034C-BCBB-186453BE0DE5}"/>
              </a:ext>
            </a:extLst>
          </p:cNvPr>
          <p:cNvPicPr>
            <a:picLocks/>
          </p:cNvPicPr>
          <p:nvPr/>
        </p:nvPicPr>
        <p:blipFill rotWithShape="1">
          <a:blip r:embed="rId7"/>
          <a:srcRect t="8740" b="24636"/>
          <a:stretch/>
        </p:blipFill>
        <p:spPr>
          <a:xfrm>
            <a:off x="6830110" y="1530878"/>
            <a:ext cx="1510353" cy="1510353"/>
          </a:xfrm>
          <a:prstGeom prst="ellipse">
            <a:avLst/>
          </a:prstGeom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D03C6366-2D92-0048-93E2-5A7ED5904E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7385" y="1530878"/>
            <a:ext cx="1503758" cy="1510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7C5C19C7-3C2D-F44F-9FB8-5D179D3DFB2C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t="183" b="22629"/>
          <a:stretch/>
        </p:blipFill>
        <p:spPr>
          <a:xfrm>
            <a:off x="987560" y="3994031"/>
            <a:ext cx="1510353" cy="1510353"/>
          </a:xfrm>
          <a:prstGeom prst="ellipse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7CAF0B5-0FA0-4F7E-89E8-D9ED88206D0C}"/>
              </a:ext>
            </a:extLst>
          </p:cNvPr>
          <p:cNvSpPr txBox="1"/>
          <p:nvPr/>
        </p:nvSpPr>
        <p:spPr>
          <a:xfrm>
            <a:off x="554736" y="3313299"/>
            <a:ext cx="2376000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b="1"/>
              <a:t>Sebastian Brau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94A487B-0BE1-40BB-AA3B-9F8B4A94700A}"/>
              </a:ext>
            </a:extLst>
          </p:cNvPr>
          <p:cNvSpPr txBox="1"/>
          <p:nvPr/>
        </p:nvSpPr>
        <p:spPr>
          <a:xfrm>
            <a:off x="3456912" y="3313299"/>
            <a:ext cx="2376000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b="1"/>
              <a:t>Leonie Blum</a:t>
            </a:r>
          </a:p>
        </p:txBody>
      </p:sp>
      <p:sp>
        <p:nvSpPr>
          <p:cNvPr id="10" name="Textfeld 7">
            <a:extLst>
              <a:ext uri="{FF2B5EF4-FFF2-40B4-BE49-F238E27FC236}">
                <a16:creationId xmlns:a16="http://schemas.microsoft.com/office/drawing/2014/main" id="{428CBE03-2747-8148-950E-B71AA2A19B31}"/>
              </a:ext>
            </a:extLst>
          </p:cNvPr>
          <p:cNvSpPr txBox="1"/>
          <p:nvPr/>
        </p:nvSpPr>
        <p:spPr>
          <a:xfrm>
            <a:off x="9261264" y="3313299"/>
            <a:ext cx="2376000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b="1"/>
              <a:t>Sophie Roth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CC7C9A7-C049-794C-A3AB-31E4A9F4A19F}"/>
              </a:ext>
            </a:extLst>
          </p:cNvPr>
          <p:cNvSpPr txBox="1"/>
          <p:nvPr/>
        </p:nvSpPr>
        <p:spPr>
          <a:xfrm>
            <a:off x="6359088" y="3313299"/>
            <a:ext cx="2376000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b="1"/>
              <a:t>Victoria Maier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B2FCF38-B239-470B-A1A3-25E1FF075A41}"/>
              </a:ext>
            </a:extLst>
          </p:cNvPr>
          <p:cNvSpPr txBox="1"/>
          <p:nvPr/>
        </p:nvSpPr>
        <p:spPr>
          <a:xfrm>
            <a:off x="554736" y="5720238"/>
            <a:ext cx="2376000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b="1"/>
              <a:t>Theodor Faulhaber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EAF53B8-21B4-4230-B421-2E6B2E8A50C0}"/>
              </a:ext>
            </a:extLst>
          </p:cNvPr>
          <p:cNvSpPr txBox="1"/>
          <p:nvPr/>
        </p:nvSpPr>
        <p:spPr>
          <a:xfrm>
            <a:off x="3456912" y="5720238"/>
            <a:ext cx="2376000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b="1"/>
              <a:t>Andreas </a:t>
            </a:r>
            <a:r>
              <a:rPr lang="de-DE" b="1" err="1"/>
              <a:t>Nimmerfroh</a:t>
            </a:r>
            <a:endParaRPr lang="de-DE" b="1"/>
          </a:p>
        </p:txBody>
      </p:sp>
      <p:pic>
        <p:nvPicPr>
          <p:cNvPr id="14" name="Grafik 16" descr="Ein Bild, das Person, Mann, männlich enthält.&#10;&#10;Beschreibung automatisch generiert.">
            <a:extLst>
              <a:ext uri="{FF2B5EF4-FFF2-40B4-BE49-F238E27FC236}">
                <a16:creationId xmlns:a16="http://schemas.microsoft.com/office/drawing/2014/main" id="{8B952518-427B-47C7-AD2C-5DF93332F0F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89735" y="3994031"/>
            <a:ext cx="1510353" cy="1510353"/>
          </a:xfrm>
          <a:prstGeom prst="ellipse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FE8E83A9-0E56-4EA7-AB12-FD3329700AB1}"/>
              </a:ext>
            </a:extLst>
          </p:cNvPr>
          <p:cNvSpPr txBox="1"/>
          <p:nvPr/>
        </p:nvSpPr>
        <p:spPr>
          <a:xfrm>
            <a:off x="6359088" y="5720238"/>
            <a:ext cx="2376000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b="1"/>
              <a:t>Jan Lorenz</a:t>
            </a:r>
          </a:p>
        </p:txBody>
      </p:sp>
      <p:pic>
        <p:nvPicPr>
          <p:cNvPr id="22" name="Grafik 21" descr="Ein Bild, das Person, lächelnd, darstellend enthält.&#10;&#10;Automatisch generierte Beschreibung">
            <a:extLst>
              <a:ext uri="{FF2B5EF4-FFF2-40B4-BE49-F238E27FC236}">
                <a16:creationId xmlns:a16="http://schemas.microsoft.com/office/drawing/2014/main" id="{DD285DCF-9E9D-A94A-87BD-71B03BD27D40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7647" b="25589"/>
          <a:stretch/>
        </p:blipFill>
        <p:spPr>
          <a:xfrm>
            <a:off x="9694087" y="3994030"/>
            <a:ext cx="1512000" cy="1512000"/>
          </a:xfrm>
          <a:prstGeom prst="ellipse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23" name="Textfeld 22">
            <a:extLst>
              <a:ext uri="{FF2B5EF4-FFF2-40B4-BE49-F238E27FC236}">
                <a16:creationId xmlns:a16="http://schemas.microsoft.com/office/drawing/2014/main" id="{82BAFED4-906D-514C-A691-DAF41CD2CBD8}"/>
              </a:ext>
            </a:extLst>
          </p:cNvPr>
          <p:cNvSpPr txBox="1"/>
          <p:nvPr/>
        </p:nvSpPr>
        <p:spPr>
          <a:xfrm>
            <a:off x="9261264" y="5720238"/>
            <a:ext cx="2376000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b="1"/>
              <a:t>Lena Mündel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0C53C75C-CFC8-1947-BF4A-76348948BEB6}"/>
              </a:ext>
            </a:extLst>
          </p:cNvPr>
          <p:cNvPicPr>
            <a:picLocks/>
          </p:cNvPicPr>
          <p:nvPr/>
        </p:nvPicPr>
        <p:blipFill rotWithShape="1">
          <a:blip r:embed="rId12"/>
          <a:srcRect t="1804" b="23196"/>
          <a:stretch/>
        </p:blipFill>
        <p:spPr>
          <a:xfrm>
            <a:off x="6828463" y="3992384"/>
            <a:ext cx="1512000" cy="1512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455536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4921C405-3BEF-F14B-99CD-5A28A81684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4921C405-3BEF-F14B-99CD-5A28A8168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389C1A7-750C-1344-83F0-7F0496275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Konzept Innovation Hub</a:t>
            </a:r>
          </a:p>
        </p:txBody>
      </p:sp>
      <p:sp>
        <p:nvSpPr>
          <p:cNvPr id="18" name="Untertitel 17">
            <a:extLst>
              <a:ext uri="{FF2B5EF4-FFF2-40B4-BE49-F238E27FC236}">
                <a16:creationId xmlns:a16="http://schemas.microsoft.com/office/drawing/2014/main" id="{D467383C-505F-AF43-AC6C-A66431C7BE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884725"/>
            <a:ext cx="5065200" cy="276999"/>
          </a:xfrm>
        </p:spPr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7A2D0668-1117-F74E-BA44-50D1E6412A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471CF75-E2E9-3A4E-A74E-675C8AD41526}"/>
              </a:ext>
            </a:extLst>
          </p:cNvPr>
          <p:cNvSpPr txBox="1"/>
          <p:nvPr/>
        </p:nvSpPr>
        <p:spPr>
          <a:xfrm>
            <a:off x="554735" y="1838049"/>
            <a:ext cx="5065776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b="1"/>
              <a:t>Ausgangssituatio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D27218-21DA-CB4F-88F9-4DDA75F6FAEE}"/>
              </a:ext>
            </a:extLst>
          </p:cNvPr>
          <p:cNvSpPr txBox="1"/>
          <p:nvPr/>
        </p:nvSpPr>
        <p:spPr>
          <a:xfrm>
            <a:off x="554735" y="4561567"/>
            <a:ext cx="5065776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b="1"/>
              <a:t>Problemstellu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1DD5086-322A-D14F-B6CA-18384F81687F}"/>
              </a:ext>
            </a:extLst>
          </p:cNvPr>
          <p:cNvSpPr txBox="1"/>
          <p:nvPr/>
        </p:nvSpPr>
        <p:spPr>
          <a:xfrm>
            <a:off x="554735" y="2276018"/>
            <a:ext cx="5065776" cy="138499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400"/>
              <a:t>Kompetenzzentren im DRK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à"/>
            </a:pPr>
            <a:r>
              <a:rPr lang="de-DE" sz="1400"/>
              <a:t>Zu viel Information 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à"/>
            </a:pPr>
            <a:r>
              <a:rPr lang="de-DE" sz="1400"/>
              <a:t>Zu allgemein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à"/>
            </a:pPr>
            <a:r>
              <a:rPr lang="de-DE" sz="1400"/>
              <a:t>Teilweise ungeordnet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à"/>
            </a:pPr>
            <a:r>
              <a:rPr lang="de-DE" sz="1400"/>
              <a:t>Usability mit Verbesserungspotenzial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BBD88FA-F98C-0946-96F2-8286680CD703}"/>
              </a:ext>
            </a:extLst>
          </p:cNvPr>
          <p:cNvSpPr txBox="1"/>
          <p:nvPr/>
        </p:nvSpPr>
        <p:spPr>
          <a:xfrm>
            <a:off x="554736" y="4965671"/>
            <a:ext cx="5065776" cy="123110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1600"/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/>
              <a:t>Wenig Möglichkeiten Projektteams zu organisie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/>
              <a:t>Mangelnder Informationsaustaus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/>
              <a:t>Wenig bis kein zentral gesammeltes und verfügbares Wissen über Innovationsprojekte und deren optimale und effiziente Durchführung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0B01AE6-ED66-BB40-9825-1620CA774FE7}"/>
              </a:ext>
            </a:extLst>
          </p:cNvPr>
          <p:cNvSpPr txBox="1"/>
          <p:nvPr/>
        </p:nvSpPr>
        <p:spPr>
          <a:xfrm>
            <a:off x="34834" y="1611086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de-DE" sz="1600"/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A31B989-270B-234F-9E61-CACC691422E6}"/>
              </a:ext>
            </a:extLst>
          </p:cNvPr>
          <p:cNvGrpSpPr/>
          <p:nvPr/>
        </p:nvGrpSpPr>
        <p:grpSpPr>
          <a:xfrm>
            <a:off x="5836315" y="3152333"/>
            <a:ext cx="553334" cy="553334"/>
            <a:chOff x="5655782" y="2646839"/>
            <a:chExt cx="914400" cy="91440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FA59442D-70F1-2443-8580-26965838FC9F}"/>
                </a:ext>
              </a:extLst>
            </p:cNvPr>
            <p:cNvSpPr/>
            <p:nvPr/>
          </p:nvSpPr>
          <p:spPr>
            <a:xfrm>
              <a:off x="5703864" y="2721048"/>
              <a:ext cx="765982" cy="765982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err="1">
                <a:solidFill>
                  <a:schemeClr val="bg1"/>
                </a:solidFill>
              </a:endParaRPr>
            </a:p>
          </p:txBody>
        </p:sp>
        <p:pic>
          <p:nvPicPr>
            <p:cNvPr id="22" name="Grafik 21" descr="Caretzeichen nach rechts Silhouette">
              <a:extLst>
                <a:ext uri="{FF2B5EF4-FFF2-40B4-BE49-F238E27FC236}">
                  <a16:creationId xmlns:a16="http://schemas.microsoft.com/office/drawing/2014/main" id="{58C1267B-0A56-7544-8412-16AD0B6F72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655782" y="2646839"/>
              <a:ext cx="914400" cy="914400"/>
            </a:xfrm>
            <a:prstGeom prst="rect">
              <a:avLst/>
            </a:prstGeom>
          </p:spPr>
        </p:pic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2FDAB47D-083F-F74B-8360-BE35351996F3}"/>
              </a:ext>
            </a:extLst>
          </p:cNvPr>
          <p:cNvGrpSpPr/>
          <p:nvPr/>
        </p:nvGrpSpPr>
        <p:grpSpPr>
          <a:xfrm>
            <a:off x="2832023" y="3985805"/>
            <a:ext cx="511200" cy="512211"/>
            <a:chOff x="5114008" y="1235589"/>
            <a:chExt cx="984353" cy="984353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FD65EBF1-A643-074E-BD7C-1B5CE9F91E52}"/>
                </a:ext>
              </a:extLst>
            </p:cNvPr>
            <p:cNvSpPr/>
            <p:nvPr/>
          </p:nvSpPr>
          <p:spPr>
            <a:xfrm>
              <a:off x="5114008" y="1235589"/>
              <a:ext cx="984353" cy="984353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err="1">
                <a:solidFill>
                  <a:schemeClr val="bg1"/>
                </a:solidFill>
              </a:endParaRPr>
            </a:p>
          </p:txBody>
        </p:sp>
        <p:pic>
          <p:nvPicPr>
            <p:cNvPr id="26" name="Grafik 25" descr="Blitz Silhouette">
              <a:extLst>
                <a:ext uri="{FF2B5EF4-FFF2-40B4-BE49-F238E27FC236}">
                  <a16:creationId xmlns:a16="http://schemas.microsoft.com/office/drawing/2014/main" id="{1375FCEB-893F-A74B-93C8-F96349A7926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148984" y="1270565"/>
              <a:ext cx="914400" cy="914400"/>
            </a:xfrm>
            <a:prstGeom prst="rect">
              <a:avLst/>
            </a:prstGeom>
          </p:spPr>
        </p:pic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F23B73F9-DD67-E44C-A423-538921212460}"/>
              </a:ext>
            </a:extLst>
          </p:cNvPr>
          <p:cNvGrpSpPr/>
          <p:nvPr/>
        </p:nvGrpSpPr>
        <p:grpSpPr>
          <a:xfrm>
            <a:off x="2831518" y="1262287"/>
            <a:ext cx="512211" cy="512211"/>
            <a:chOff x="6177244" y="1486432"/>
            <a:chExt cx="984353" cy="984353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5407CA0-084A-2141-BDF8-D9E70D59ACED}"/>
                </a:ext>
              </a:extLst>
            </p:cNvPr>
            <p:cNvSpPr/>
            <p:nvPr/>
          </p:nvSpPr>
          <p:spPr>
            <a:xfrm>
              <a:off x="6177244" y="1486432"/>
              <a:ext cx="984353" cy="984353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err="1">
                <a:solidFill>
                  <a:schemeClr val="bg1"/>
                </a:solidFill>
              </a:endParaRPr>
            </a:p>
          </p:txBody>
        </p:sp>
        <p:pic>
          <p:nvPicPr>
            <p:cNvPr id="28" name="Grafik 27" descr="Markierung Silhouette">
              <a:extLst>
                <a:ext uri="{FF2B5EF4-FFF2-40B4-BE49-F238E27FC236}">
                  <a16:creationId xmlns:a16="http://schemas.microsoft.com/office/drawing/2014/main" id="{25AF5FC3-F656-6840-8B74-18AE6DC49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212220" y="1521408"/>
              <a:ext cx="914400" cy="914400"/>
            </a:xfrm>
            <a:prstGeom prst="rect">
              <a:avLst/>
            </a:prstGeom>
          </p:spPr>
        </p:pic>
      </p:grpSp>
      <p:cxnSp>
        <p:nvCxnSpPr>
          <p:cNvPr id="38" name="Gerade Verbindung 37">
            <a:extLst>
              <a:ext uri="{FF2B5EF4-FFF2-40B4-BE49-F238E27FC236}">
                <a16:creationId xmlns:a16="http://schemas.microsoft.com/office/drawing/2014/main" id="{4697CDFC-7A4E-3D44-A974-96C46B6686D4}"/>
              </a:ext>
            </a:extLst>
          </p:cNvPr>
          <p:cNvCxnSpPr>
            <a:cxnSpLocks/>
          </p:cNvCxnSpPr>
          <p:nvPr/>
        </p:nvCxnSpPr>
        <p:spPr>
          <a:xfrm>
            <a:off x="554736" y="2178599"/>
            <a:ext cx="5065200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>
            <a:extLst>
              <a:ext uri="{FF2B5EF4-FFF2-40B4-BE49-F238E27FC236}">
                <a16:creationId xmlns:a16="http://schemas.microsoft.com/office/drawing/2014/main" id="{EB25C602-4425-F74C-A07C-A5E560DC8A57}"/>
              </a:ext>
            </a:extLst>
          </p:cNvPr>
          <p:cNvCxnSpPr>
            <a:cxnSpLocks/>
          </p:cNvCxnSpPr>
          <p:nvPr/>
        </p:nvCxnSpPr>
        <p:spPr>
          <a:xfrm>
            <a:off x="554736" y="4902117"/>
            <a:ext cx="5065200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3F934D5F-50D8-4474-B562-DF3FA4025E70}"/>
              </a:ext>
            </a:extLst>
          </p:cNvPr>
          <p:cNvSpPr txBox="1"/>
          <p:nvPr/>
        </p:nvSpPr>
        <p:spPr>
          <a:xfrm>
            <a:off x="7257793" y="2276018"/>
            <a:ext cx="3876046" cy="138499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de-DE" sz="1400" b="1">
                <a:ea typeface="+mn-lt"/>
                <a:cs typeface="+mn-lt"/>
              </a:rPr>
              <a:t>Start at </a:t>
            </a:r>
            <a:r>
              <a:rPr lang="de-DE" sz="1400" b="1" err="1">
                <a:ea typeface="+mn-lt"/>
                <a:cs typeface="+mn-lt"/>
              </a:rPr>
              <a:t>the</a:t>
            </a:r>
            <a:r>
              <a:rPr lang="de-DE" sz="1400" b="1">
                <a:ea typeface="+mn-lt"/>
                <a:cs typeface="+mn-lt"/>
              </a:rPr>
              <a:t> end</a:t>
            </a:r>
            <a:endParaRPr lang="de-DE" sz="1400">
              <a:ea typeface="+mn-lt"/>
              <a:cs typeface="+mn-lt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400">
                <a:ea typeface="+mn-lt"/>
                <a:cs typeface="+mn-lt"/>
              </a:rPr>
              <a:t>Mit den Kundenbedürfnissen starten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400">
                <a:ea typeface="+mn-lt"/>
                <a:cs typeface="+mn-lt"/>
              </a:rPr>
              <a:t>Pressemitteilung schreiben &amp; peer-review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400">
                <a:ea typeface="+mn-lt"/>
                <a:cs typeface="+mn-lt"/>
              </a:rPr>
              <a:t>FAQ (fortlaufend)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400">
                <a:ea typeface="+mn-lt"/>
                <a:cs typeface="+mn-lt"/>
              </a:rPr>
              <a:t>Visuals</a:t>
            </a:r>
            <a:endParaRPr lang="de-DE">
              <a:ea typeface="+mn-lt"/>
              <a:cs typeface="+mn-lt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A4D05A6-B9DD-457B-B540-D3FB1B2593E8}"/>
              </a:ext>
            </a:extLst>
          </p:cNvPr>
          <p:cNvSpPr/>
          <p:nvPr/>
        </p:nvSpPr>
        <p:spPr>
          <a:xfrm>
            <a:off x="7062700" y="1838049"/>
            <a:ext cx="4266233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b="1"/>
              <a:t>Working </a:t>
            </a:r>
            <a:r>
              <a:rPr lang="de-DE" b="1" err="1"/>
              <a:t>backwards</a:t>
            </a:r>
            <a:r>
              <a:rPr lang="de-DE" b="1"/>
              <a:t> „Amazon </a:t>
            </a:r>
            <a:r>
              <a:rPr lang="de-DE" b="1" err="1"/>
              <a:t>method</a:t>
            </a:r>
            <a:r>
              <a:rPr lang="de-DE" b="1"/>
              <a:t>“</a:t>
            </a:r>
          </a:p>
        </p:txBody>
      </p:sp>
      <p:cxnSp>
        <p:nvCxnSpPr>
          <p:cNvPr id="44" name="Gerade Verbindung 21">
            <a:extLst>
              <a:ext uri="{FF2B5EF4-FFF2-40B4-BE49-F238E27FC236}">
                <a16:creationId xmlns:a16="http://schemas.microsoft.com/office/drawing/2014/main" id="{D03DF63D-8E00-4EA7-A23D-D245A70B1825}"/>
              </a:ext>
            </a:extLst>
          </p:cNvPr>
          <p:cNvCxnSpPr>
            <a:cxnSpLocks/>
          </p:cNvCxnSpPr>
          <p:nvPr/>
        </p:nvCxnSpPr>
        <p:spPr>
          <a:xfrm>
            <a:off x="6663216" y="2178599"/>
            <a:ext cx="5065200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Grafik 44" descr="Benutzer Silhouette">
            <a:extLst>
              <a:ext uri="{FF2B5EF4-FFF2-40B4-BE49-F238E27FC236}">
                <a16:creationId xmlns:a16="http://schemas.microsoft.com/office/drawing/2014/main" id="{6D0BC859-6D03-4405-9CBF-2D1E681B0C0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991372" y="1287201"/>
            <a:ext cx="408888" cy="408888"/>
          </a:xfrm>
          <a:prstGeom prst="rect">
            <a:avLst/>
          </a:prstGeom>
        </p:spPr>
      </p:pic>
      <p:sp>
        <p:nvSpPr>
          <p:cNvPr id="46" name="Oval 24">
            <a:extLst>
              <a:ext uri="{FF2B5EF4-FFF2-40B4-BE49-F238E27FC236}">
                <a16:creationId xmlns:a16="http://schemas.microsoft.com/office/drawing/2014/main" id="{989B3F85-DEA4-4189-8B3E-9921F8A1EE88}"/>
              </a:ext>
            </a:extLst>
          </p:cNvPr>
          <p:cNvSpPr/>
          <p:nvPr/>
        </p:nvSpPr>
        <p:spPr>
          <a:xfrm>
            <a:off x="8964056" y="1287201"/>
            <a:ext cx="463521" cy="463522"/>
          </a:xfrm>
          <a:prstGeom prst="ellipse">
            <a:avLst/>
          </a:prstGeom>
          <a:noFill/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err="1">
              <a:solidFill>
                <a:schemeClr val="bg1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DF29B61-8FDA-4C96-9087-F31D51E40380}"/>
              </a:ext>
            </a:extLst>
          </p:cNvPr>
          <p:cNvSpPr txBox="1"/>
          <p:nvPr/>
        </p:nvSpPr>
        <p:spPr>
          <a:xfrm>
            <a:off x="7042164" y="5919778"/>
            <a:ext cx="4307304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de-DE" b="1"/>
              <a:t>„Working </a:t>
            </a:r>
            <a:r>
              <a:rPr lang="de-DE" b="1" err="1"/>
              <a:t>Backwards</a:t>
            </a:r>
            <a:r>
              <a:rPr lang="de-DE" b="1"/>
              <a:t> </a:t>
            </a:r>
            <a:r>
              <a:rPr lang="de-DE" b="1" err="1"/>
              <a:t>is</a:t>
            </a:r>
            <a:r>
              <a:rPr lang="de-DE" b="1"/>
              <a:t> a </a:t>
            </a:r>
            <a:r>
              <a:rPr lang="de-DE" b="1" err="1"/>
              <a:t>process</a:t>
            </a:r>
            <a:r>
              <a:rPr lang="de-DE" b="1"/>
              <a:t>“</a:t>
            </a:r>
            <a:r>
              <a:rPr lang="de-DE">
                <a:cs typeface="Arial"/>
              </a:rPr>
              <a:t>​</a:t>
            </a:r>
            <a:endParaRPr lang="de-DE"/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490874DD-DD9A-4D3E-97B6-7543C353CE44}"/>
              </a:ext>
            </a:extLst>
          </p:cNvPr>
          <p:cNvSpPr txBox="1"/>
          <p:nvPr/>
        </p:nvSpPr>
        <p:spPr>
          <a:xfrm>
            <a:off x="8354379" y="4262051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de-DE" sz="1600"/>
          </a:p>
        </p:txBody>
      </p:sp>
      <p:pic>
        <p:nvPicPr>
          <p:cNvPr id="7" name="Grafik 6" descr="Weibliches Profil Silhouette">
            <a:extLst>
              <a:ext uri="{FF2B5EF4-FFF2-40B4-BE49-F238E27FC236}">
                <a16:creationId xmlns:a16="http://schemas.microsoft.com/office/drawing/2014/main" id="{6DBA2AE9-1606-4F75-8504-042B2DF04DF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418381" y="5175789"/>
            <a:ext cx="573578" cy="573578"/>
          </a:xfrm>
          <a:prstGeom prst="rect">
            <a:avLst/>
          </a:prstGeom>
        </p:spPr>
      </p:pic>
      <p:pic>
        <p:nvPicPr>
          <p:cNvPr id="11" name="Grafik 10" descr="Liste Silhouette">
            <a:extLst>
              <a:ext uri="{FF2B5EF4-FFF2-40B4-BE49-F238E27FC236}">
                <a16:creationId xmlns:a16="http://schemas.microsoft.com/office/drawing/2014/main" id="{DC89E92D-7004-4C75-B538-2BC0DBCE882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347165" y="4827172"/>
            <a:ext cx="457200" cy="457200"/>
          </a:xfrm>
          <a:prstGeom prst="rect">
            <a:avLst/>
          </a:prstGeom>
        </p:spPr>
      </p:pic>
      <p:pic>
        <p:nvPicPr>
          <p:cNvPr id="14" name="Grafik 13" descr="Fragen Silhouette">
            <a:extLst>
              <a:ext uri="{FF2B5EF4-FFF2-40B4-BE49-F238E27FC236}">
                <a16:creationId xmlns:a16="http://schemas.microsoft.com/office/drawing/2014/main" id="{519E1A57-A755-4B19-865B-7DC7542AD9E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286245" y="4138076"/>
            <a:ext cx="645025" cy="645025"/>
          </a:xfrm>
          <a:prstGeom prst="rect">
            <a:avLst/>
          </a:prstGeom>
        </p:spPr>
      </p:pic>
      <p:pic>
        <p:nvPicPr>
          <p:cNvPr id="17" name="Grafik 16" descr="Bild Silhouette">
            <a:extLst>
              <a:ext uri="{FF2B5EF4-FFF2-40B4-BE49-F238E27FC236}">
                <a16:creationId xmlns:a16="http://schemas.microsoft.com/office/drawing/2014/main" id="{8C3A45F0-6BD5-4320-B6C1-635D282F185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695034" y="3953608"/>
            <a:ext cx="410354" cy="410354"/>
          </a:xfrm>
          <a:prstGeom prst="rect">
            <a:avLst/>
          </a:prstGeom>
        </p:spPr>
      </p:pic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C0F56A88-1F70-4EAC-AC38-0F3663878D4F}"/>
              </a:ext>
            </a:extLst>
          </p:cNvPr>
          <p:cNvCxnSpPr>
            <a:cxnSpLocks/>
          </p:cNvCxnSpPr>
          <p:nvPr/>
        </p:nvCxnSpPr>
        <p:spPr>
          <a:xfrm flipV="1">
            <a:off x="8955674" y="5291935"/>
            <a:ext cx="476193" cy="194098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801EEF1C-FA28-4F79-970D-276497BF2DBF}"/>
              </a:ext>
            </a:extLst>
          </p:cNvPr>
          <p:cNvCxnSpPr>
            <a:endCxn id="14" idx="3"/>
          </p:cNvCxnSpPr>
          <p:nvPr/>
        </p:nvCxnSpPr>
        <p:spPr>
          <a:xfrm flipH="1" flipV="1">
            <a:off x="8931270" y="4460589"/>
            <a:ext cx="476193" cy="303029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03534D3E-5CE3-4A0A-9532-9C30C698414A}"/>
              </a:ext>
            </a:extLst>
          </p:cNvPr>
          <p:cNvCxnSpPr>
            <a:cxnSpLocks/>
          </p:cNvCxnSpPr>
          <p:nvPr/>
        </p:nvCxnSpPr>
        <p:spPr>
          <a:xfrm flipV="1">
            <a:off x="9037175" y="4116323"/>
            <a:ext cx="619979" cy="182532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04937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EEAFD5A9-0D08-1246-B172-4DC1CB19B3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87018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EEAFD5A9-0D08-1246-B172-4DC1CB19B3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251D07B-366F-4FBC-AD99-896DBDA74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Persona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66CB437-0D4E-43C2-A1B3-59834EEB82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884725"/>
            <a:ext cx="11082528" cy="276999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9921C1-78C0-42EB-8473-ED01ECD6992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E719218-D015-448A-82BB-847EE5F5FC36}"/>
              </a:ext>
            </a:extLst>
          </p:cNvPr>
          <p:cNvSpPr txBox="1"/>
          <p:nvPr/>
        </p:nvSpPr>
        <p:spPr>
          <a:xfrm>
            <a:off x="554736" y="1557224"/>
            <a:ext cx="4482000" cy="2140974"/>
          </a:xfrm>
          <a:prstGeom prst="rect">
            <a:avLst/>
          </a:prstGeom>
          <a:ln w="6350">
            <a:solidFill>
              <a:schemeClr val="accent1"/>
            </a:solidFill>
            <a:miter lim="800000"/>
          </a:ln>
        </p:spPr>
        <p:txBody>
          <a:bodyPr vert="horz" wrap="square" lIns="90000" tIns="90000" rIns="360000" bIns="9000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600" b="1"/>
              <a:t>Demographische Informationen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Liselotte Schuberth (45 Jahre)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2 Kinder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Arbeitet im Hauptamt beim DRK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 err="1"/>
              <a:t>Teamlead</a:t>
            </a:r>
            <a:endParaRPr lang="de-DE" sz="120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A204BB5-7F5B-4CBC-A8BE-05C9171F391A}"/>
              </a:ext>
            </a:extLst>
          </p:cNvPr>
          <p:cNvSpPr txBox="1"/>
          <p:nvPr/>
        </p:nvSpPr>
        <p:spPr>
          <a:xfrm>
            <a:off x="7156704" y="1438948"/>
            <a:ext cx="4478620" cy="2259250"/>
          </a:xfrm>
          <a:prstGeom prst="rect">
            <a:avLst/>
          </a:prstGeom>
          <a:ln w="6350">
            <a:solidFill>
              <a:schemeClr val="accent1"/>
            </a:solidFill>
            <a:miter lim="800000"/>
          </a:ln>
        </p:spPr>
        <p:txBody>
          <a:bodyPr vert="horz" wrap="square" lIns="360000" tIns="90000" rIns="90000" bIns="9000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600" b="1"/>
              <a:t>Overall Goal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Etwas Neues lerne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Ihrem Team innovative Projekte &amp;  Tools näherbringe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Innovationen voranbringe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Sich mit anderen austauschen &amp; Kontakte knüpfe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Etwas Gutes für andere tun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Anerkennung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Netzwerk regionsübergreifend aufbau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A99D72E-5F89-45EA-A616-3B55C514B9DB}"/>
              </a:ext>
            </a:extLst>
          </p:cNvPr>
          <p:cNvSpPr txBox="1"/>
          <p:nvPr/>
        </p:nvSpPr>
        <p:spPr>
          <a:xfrm>
            <a:off x="7156810" y="4080779"/>
            <a:ext cx="4482000" cy="2140974"/>
          </a:xfrm>
          <a:prstGeom prst="rect">
            <a:avLst/>
          </a:prstGeom>
          <a:ln w="6350">
            <a:solidFill>
              <a:schemeClr val="accent1"/>
            </a:solidFill>
            <a:miter lim="800000"/>
          </a:ln>
        </p:spPr>
        <p:txBody>
          <a:bodyPr vert="horz" wrap="square" lIns="360000" tIns="90000" rIns="90000" bIns="9000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600" b="1"/>
              <a:t>Task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Möglichst zeiteffizient mit innovativen Tools umgehen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Ideen erfolgreich in Projekte und Ergebnisse umsetzen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Sich mit anderen Leuten aus anderen Regionen und Funktionen </a:t>
            </a:r>
            <a:r>
              <a:rPr lang="de-DE" sz="1200" err="1"/>
              <a:t>connecten</a:t>
            </a:r>
            <a:r>
              <a:rPr lang="de-DE" sz="1200"/>
              <a:t> und organisiere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879D979-8760-4086-A076-8922660BFB46}"/>
              </a:ext>
            </a:extLst>
          </p:cNvPr>
          <p:cNvSpPr txBox="1"/>
          <p:nvPr/>
        </p:nvSpPr>
        <p:spPr>
          <a:xfrm>
            <a:off x="554736" y="4080779"/>
            <a:ext cx="4482000" cy="2140974"/>
          </a:xfrm>
          <a:prstGeom prst="rect">
            <a:avLst/>
          </a:prstGeom>
          <a:ln w="6350">
            <a:solidFill>
              <a:schemeClr val="accent1"/>
            </a:solidFill>
            <a:miter lim="800000"/>
          </a:ln>
        </p:spPr>
        <p:txBody>
          <a:bodyPr vert="horz" wrap="square" lIns="90000" tIns="90000" rIns="360000" bIns="90000" rtlCol="0" anchor="t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600" b="1" err="1"/>
              <a:t>Pain</a:t>
            </a:r>
            <a:r>
              <a:rPr lang="de-DE" sz="1600" b="1"/>
              <a:t> Points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Weiß nicht wie sie und ihr Team am sinnvollsten Ideen umsetzten können</a:t>
            </a:r>
            <a:endParaRPr lang="de-DE" sz="1200">
              <a:cs typeface="Arial"/>
            </a:endParaRP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Wenig Erfahrung mit modernen Projektmanagement-methoden und entsprechenden Tools</a:t>
            </a:r>
            <a:endParaRPr lang="de-DE" sz="1200">
              <a:cs typeface="Arial"/>
            </a:endParaRP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Begrenzte Zeit zur Verfügung</a:t>
            </a:r>
            <a:endParaRPr lang="de-DE" sz="1200">
              <a:cs typeface="Arial"/>
            </a:endParaRP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/>
              <a:t>Unsicherheit gegenüber „Neuem“</a:t>
            </a:r>
            <a:endParaRPr lang="de-DE" sz="1200">
              <a:cs typeface="Arial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200">
                <a:cs typeface="Arial"/>
              </a:rPr>
              <a:t>Begrenztes technisches </a:t>
            </a:r>
            <a:r>
              <a:rPr lang="de-DE" sz="1200" err="1">
                <a:cs typeface="Arial"/>
              </a:rPr>
              <a:t>Know-How</a:t>
            </a:r>
            <a:endParaRPr lang="de-DE" sz="1200">
              <a:cs typeface="Arial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600">
              <a:cs typeface="Arial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AB3858DD-B51E-4C14-9BB8-FBA2E7B2DC1E}"/>
              </a:ext>
            </a:extLst>
          </p:cNvPr>
          <p:cNvPicPr>
            <a:picLocks/>
          </p:cNvPicPr>
          <p:nvPr/>
        </p:nvPicPr>
        <p:blipFill rotWithShape="1">
          <a:blip r:embed="rId5"/>
          <a:srcRect l="16406" t="5472" r="8109" b="44278"/>
          <a:stretch/>
        </p:blipFill>
        <p:spPr>
          <a:xfrm>
            <a:off x="5291797" y="3085584"/>
            <a:ext cx="1608406" cy="1607810"/>
          </a:xfrm>
          <a:prstGeom prst="ellipse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2885C03D-BC2B-EC44-AF57-7C565C8B2C82}"/>
              </a:ext>
            </a:extLst>
          </p:cNvPr>
          <p:cNvSpPr/>
          <p:nvPr/>
        </p:nvSpPr>
        <p:spPr>
          <a:xfrm>
            <a:off x="4747178" y="2257827"/>
            <a:ext cx="739768" cy="739768"/>
          </a:xfrm>
          <a:prstGeom prst="ellipse">
            <a:avLst/>
          </a:prstGeom>
          <a:solidFill>
            <a:schemeClr val="accent1"/>
          </a:solidFill>
          <a:ln w="6350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err="1">
              <a:solidFill>
                <a:schemeClr val="bg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BEF5412-5EEC-6440-81AD-7AF08F641FBA}"/>
              </a:ext>
            </a:extLst>
          </p:cNvPr>
          <p:cNvSpPr/>
          <p:nvPr/>
        </p:nvSpPr>
        <p:spPr>
          <a:xfrm>
            <a:off x="4747178" y="4781382"/>
            <a:ext cx="739768" cy="739768"/>
          </a:xfrm>
          <a:prstGeom prst="ellipse">
            <a:avLst/>
          </a:prstGeom>
          <a:solidFill>
            <a:schemeClr val="accent1"/>
          </a:solidFill>
          <a:ln w="6350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err="1">
              <a:solidFill>
                <a:schemeClr val="bg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363BEAB-8FE3-5948-A191-905BA5BF0F7C}"/>
              </a:ext>
            </a:extLst>
          </p:cNvPr>
          <p:cNvSpPr/>
          <p:nvPr/>
        </p:nvSpPr>
        <p:spPr>
          <a:xfrm>
            <a:off x="6656581" y="4781382"/>
            <a:ext cx="739768" cy="739768"/>
          </a:xfrm>
          <a:prstGeom prst="ellipse">
            <a:avLst/>
          </a:prstGeom>
          <a:solidFill>
            <a:schemeClr val="accent1"/>
          </a:solidFill>
          <a:ln w="6350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err="1">
              <a:solidFill>
                <a:schemeClr val="bg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03E905D-BBAB-A74F-BA25-03F9227920E3}"/>
              </a:ext>
            </a:extLst>
          </p:cNvPr>
          <p:cNvSpPr/>
          <p:nvPr/>
        </p:nvSpPr>
        <p:spPr>
          <a:xfrm>
            <a:off x="6656581" y="2257827"/>
            <a:ext cx="739768" cy="739768"/>
          </a:xfrm>
          <a:prstGeom prst="ellipse">
            <a:avLst/>
          </a:prstGeom>
          <a:solidFill>
            <a:schemeClr val="accent1"/>
          </a:solidFill>
          <a:ln w="6350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err="1">
              <a:solidFill>
                <a:schemeClr val="bg1"/>
              </a:solidFill>
            </a:endParaRPr>
          </a:p>
        </p:txBody>
      </p:sp>
      <p:pic>
        <p:nvPicPr>
          <p:cNvPr id="6" name="Grafik 5" descr="Weibliches Profil Silhouette">
            <a:extLst>
              <a:ext uri="{FF2B5EF4-FFF2-40B4-BE49-F238E27FC236}">
                <a16:creationId xmlns:a16="http://schemas.microsoft.com/office/drawing/2014/main" id="{40D5E138-18A3-C742-807D-814822051A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35167" y="2345816"/>
            <a:ext cx="563791" cy="563791"/>
          </a:xfrm>
          <a:prstGeom prst="rect">
            <a:avLst/>
          </a:prstGeom>
        </p:spPr>
      </p:pic>
      <p:pic>
        <p:nvPicPr>
          <p:cNvPr id="8" name="Grafik 7" descr="Klemmbrett abgehakt Silhouette">
            <a:extLst>
              <a:ext uri="{FF2B5EF4-FFF2-40B4-BE49-F238E27FC236}">
                <a16:creationId xmlns:a16="http://schemas.microsoft.com/office/drawing/2014/main" id="{17C687DB-863B-1249-B4E1-B7DE9C6080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744570" y="4869371"/>
            <a:ext cx="563791" cy="563791"/>
          </a:xfrm>
          <a:prstGeom prst="rect">
            <a:avLst/>
          </a:prstGeom>
        </p:spPr>
      </p:pic>
      <p:pic>
        <p:nvPicPr>
          <p:cNvPr id="14" name="Grafik 13" descr="Blitz Silhouette">
            <a:extLst>
              <a:ext uri="{FF2B5EF4-FFF2-40B4-BE49-F238E27FC236}">
                <a16:creationId xmlns:a16="http://schemas.microsoft.com/office/drawing/2014/main" id="{78DD7296-63BB-DC4D-A145-5294F1D095B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35167" y="4869371"/>
            <a:ext cx="563791" cy="563791"/>
          </a:xfrm>
          <a:prstGeom prst="rect">
            <a:avLst/>
          </a:prstGeom>
        </p:spPr>
      </p:pic>
      <p:pic>
        <p:nvPicPr>
          <p:cNvPr id="17" name="Grafik 16" descr="Kennzeichen Silhouette">
            <a:extLst>
              <a:ext uri="{FF2B5EF4-FFF2-40B4-BE49-F238E27FC236}">
                <a16:creationId xmlns:a16="http://schemas.microsoft.com/office/drawing/2014/main" id="{99A7F4DA-CC10-C044-B8FC-15B25CB7208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744570" y="2345816"/>
            <a:ext cx="563791" cy="56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8411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5888ED-8FDD-A44E-8B60-2DDE0B5778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The Big </a:t>
            </a:r>
            <a:r>
              <a:rPr lang="de-DE" b="1" err="1"/>
              <a:t>Idea</a:t>
            </a:r>
            <a:endParaRPr lang="de-DE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016FBAC-093F-994D-BC70-11A0B3680DC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F5248C6-B1BF-B744-928B-00AA498A6E9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C2E037D-58E5-2D42-AD77-063190A61792}"/>
              </a:ext>
            </a:extLst>
          </p:cNvPr>
          <p:cNvSpPr txBox="1"/>
          <p:nvPr/>
        </p:nvSpPr>
        <p:spPr>
          <a:xfrm>
            <a:off x="2247363" y="1893012"/>
            <a:ext cx="1679947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b="1"/>
              <a:t>Innovation Hub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2799C45-5F8B-AF44-A01B-14CFAA4B69EA}"/>
              </a:ext>
            </a:extLst>
          </p:cNvPr>
          <p:cNvSpPr/>
          <p:nvPr/>
        </p:nvSpPr>
        <p:spPr>
          <a:xfrm>
            <a:off x="481584" y="2374855"/>
            <a:ext cx="51389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de-DE" sz="1600"/>
              <a:t>Einen Innovation Hub als Intranet aufbauen, das folgende Bereiche verein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2CFD098-4468-AE4D-AED9-FDAAF3361D4E}"/>
              </a:ext>
            </a:extLst>
          </p:cNvPr>
          <p:cNvSpPr txBox="1"/>
          <p:nvPr/>
        </p:nvSpPr>
        <p:spPr>
          <a:xfrm>
            <a:off x="551326" y="3324608"/>
            <a:ext cx="4907305" cy="138499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/>
              <a:t>Agile Projektmethoden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/>
              <a:t>Auswahl und Erklärung zu Tools wie </a:t>
            </a:r>
            <a:r>
              <a:rPr lang="de-DE" sz="1400" err="1"/>
              <a:t>Trello</a:t>
            </a:r>
            <a:r>
              <a:rPr lang="de-DE" sz="1400"/>
              <a:t>/</a:t>
            </a:r>
            <a:r>
              <a:rPr lang="de-DE" sz="1400" err="1"/>
              <a:t>Jira</a:t>
            </a:r>
            <a:r>
              <a:rPr lang="de-DE" sz="1400"/>
              <a:t> &amp; Co.</a:t>
            </a:r>
            <a:endParaRPr lang="de-DE" sz="1400">
              <a:cs typeface="Arial"/>
            </a:endParaRP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/>
              <a:t>Online Trainings/</a:t>
            </a:r>
            <a:r>
              <a:rPr lang="de-DE" sz="1400" err="1"/>
              <a:t>Trainingvideos</a:t>
            </a:r>
            <a:endParaRPr lang="de-DE" sz="1400">
              <a:cs typeface="Arial"/>
            </a:endParaRP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/>
              <a:t>Newsletter &amp; Blog</a:t>
            </a:r>
            <a:endParaRPr lang="de-DE" sz="1400">
              <a:cs typeface="Arial"/>
            </a:endParaRP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/>
              <a:t>Innovation </a:t>
            </a:r>
            <a:r>
              <a:rPr lang="de-DE" sz="1400" err="1"/>
              <a:t>Ambassadors</a:t>
            </a:r>
            <a:endParaRPr lang="de-DE" sz="140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2139396-F0AD-5C4F-A7D8-38F347AB4129}"/>
              </a:ext>
            </a:extLst>
          </p:cNvPr>
          <p:cNvGrpSpPr/>
          <p:nvPr/>
        </p:nvGrpSpPr>
        <p:grpSpPr>
          <a:xfrm>
            <a:off x="5836315" y="3368187"/>
            <a:ext cx="553334" cy="553334"/>
            <a:chOff x="5655782" y="2646839"/>
            <a:chExt cx="914400" cy="9144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399A130-A309-4C41-88A5-74DA535B24B0}"/>
                </a:ext>
              </a:extLst>
            </p:cNvPr>
            <p:cNvSpPr/>
            <p:nvPr/>
          </p:nvSpPr>
          <p:spPr>
            <a:xfrm>
              <a:off x="5703864" y="2721048"/>
              <a:ext cx="765982" cy="765982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err="1">
                <a:solidFill>
                  <a:schemeClr val="bg1"/>
                </a:solidFill>
              </a:endParaRPr>
            </a:p>
          </p:txBody>
        </p:sp>
        <p:pic>
          <p:nvPicPr>
            <p:cNvPr id="11" name="Grafik 10" descr="Caretzeichen nach rechts Silhouette">
              <a:extLst>
                <a:ext uri="{FF2B5EF4-FFF2-40B4-BE49-F238E27FC236}">
                  <a16:creationId xmlns:a16="http://schemas.microsoft.com/office/drawing/2014/main" id="{4BDC4B88-D734-5049-8230-5097A3F828E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655782" y="2646839"/>
              <a:ext cx="914400" cy="914400"/>
            </a:xfrm>
            <a:prstGeom prst="rect">
              <a:avLst/>
            </a:prstGeom>
          </p:spPr>
        </p:pic>
      </p:grp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6E761369-747C-8F41-8F6B-E85E26F97841}"/>
              </a:ext>
            </a:extLst>
          </p:cNvPr>
          <p:cNvCxnSpPr>
            <a:cxnSpLocks/>
          </p:cNvCxnSpPr>
          <p:nvPr/>
        </p:nvCxnSpPr>
        <p:spPr>
          <a:xfrm>
            <a:off x="554736" y="2268051"/>
            <a:ext cx="5065200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 descr="Lichter an Silhouette">
            <a:extLst>
              <a:ext uri="{FF2B5EF4-FFF2-40B4-BE49-F238E27FC236}">
                <a16:creationId xmlns:a16="http://schemas.microsoft.com/office/drawing/2014/main" id="{928E6F40-BADA-0C40-BFE5-A90663998F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10209" y="1421202"/>
            <a:ext cx="354254" cy="354254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4DE03026-9411-9141-A945-E27ADDB41A69}"/>
              </a:ext>
            </a:extLst>
          </p:cNvPr>
          <p:cNvSpPr/>
          <p:nvPr/>
        </p:nvSpPr>
        <p:spPr>
          <a:xfrm>
            <a:off x="2855576" y="1366568"/>
            <a:ext cx="463521" cy="463522"/>
          </a:xfrm>
          <a:prstGeom prst="ellipse">
            <a:avLst/>
          </a:prstGeom>
          <a:noFill/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err="1">
              <a:solidFill>
                <a:schemeClr val="bg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4F32E0C-480F-455E-A608-543823DD00EA}"/>
              </a:ext>
            </a:extLst>
          </p:cNvPr>
          <p:cNvSpPr/>
          <p:nvPr/>
        </p:nvSpPr>
        <p:spPr>
          <a:xfrm>
            <a:off x="551326" y="5122514"/>
            <a:ext cx="5068610" cy="104900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>
              <a:spcAft>
                <a:spcPts val="500"/>
              </a:spcAft>
            </a:pPr>
            <a:r>
              <a:rPr lang="de-DE" sz="1600" b="1">
                <a:solidFill>
                  <a:srgbClr val="1A1A1A"/>
                </a:solidFill>
              </a:rPr>
              <a:t>The </a:t>
            </a:r>
            <a:r>
              <a:rPr lang="de-DE" sz="1600" b="1" err="1">
                <a:solidFill>
                  <a:srgbClr val="1A1A1A"/>
                </a:solidFill>
              </a:rPr>
              <a:t>most</a:t>
            </a:r>
            <a:r>
              <a:rPr lang="de-DE" sz="1600" b="1">
                <a:solidFill>
                  <a:srgbClr val="1A1A1A"/>
                </a:solidFill>
              </a:rPr>
              <a:t> </a:t>
            </a:r>
            <a:r>
              <a:rPr lang="de-DE" sz="1600" b="1" err="1">
                <a:solidFill>
                  <a:srgbClr val="1A1A1A"/>
                </a:solidFill>
              </a:rPr>
              <a:t>important</a:t>
            </a:r>
            <a:r>
              <a:rPr lang="de-DE" sz="1600" b="1">
                <a:solidFill>
                  <a:srgbClr val="1A1A1A"/>
                </a:solidFill>
              </a:rPr>
              <a:t> </a:t>
            </a:r>
            <a:r>
              <a:rPr lang="de-DE" sz="1600" b="1" err="1">
                <a:solidFill>
                  <a:srgbClr val="1A1A1A"/>
                </a:solidFill>
              </a:rPr>
              <a:t>customer</a:t>
            </a:r>
            <a:r>
              <a:rPr lang="de-DE" sz="1600" b="1">
                <a:solidFill>
                  <a:srgbClr val="1A1A1A"/>
                </a:solidFill>
              </a:rPr>
              <a:t> </a:t>
            </a:r>
            <a:r>
              <a:rPr lang="de-DE" sz="1600" b="1" err="1">
                <a:solidFill>
                  <a:srgbClr val="1A1A1A"/>
                </a:solidFill>
              </a:rPr>
              <a:t>benefit</a:t>
            </a:r>
            <a:r>
              <a:rPr lang="de-DE" sz="1600" b="1">
                <a:solidFill>
                  <a:srgbClr val="1A1A1A"/>
                </a:solidFill>
              </a:rPr>
              <a:t> </a:t>
            </a:r>
            <a:r>
              <a:rPr lang="de-DE" sz="1600" b="1" err="1">
                <a:solidFill>
                  <a:srgbClr val="1A1A1A"/>
                </a:solidFill>
              </a:rPr>
              <a:t>is</a:t>
            </a:r>
            <a:r>
              <a:rPr lang="de-DE" sz="1600" b="1">
                <a:solidFill>
                  <a:srgbClr val="1A1A1A"/>
                </a:solidFill>
              </a:rPr>
              <a:t>:</a:t>
            </a:r>
            <a:r>
              <a:rPr lang="de-DE" sz="1600">
                <a:solidFill>
                  <a:srgbClr val="1A1A1A"/>
                </a:solidFill>
              </a:rPr>
              <a:t> </a:t>
            </a:r>
          </a:p>
          <a:p>
            <a:pPr algn="ctr">
              <a:spcAft>
                <a:spcPts val="500"/>
              </a:spcAft>
            </a:pPr>
            <a:r>
              <a:rPr lang="de-DE" sz="1400">
                <a:solidFill>
                  <a:srgbClr val="1A1A1A"/>
                </a:solidFill>
              </a:rPr>
              <a:t>"</a:t>
            </a:r>
            <a:r>
              <a:rPr lang="de-DE" sz="1400" err="1">
                <a:solidFill>
                  <a:srgbClr val="1A1A1A"/>
                </a:solidFill>
              </a:rPr>
              <a:t>One-stop</a:t>
            </a:r>
            <a:r>
              <a:rPr lang="de-DE" sz="1400">
                <a:solidFill>
                  <a:srgbClr val="1A1A1A"/>
                </a:solidFill>
              </a:rPr>
              <a:t> </a:t>
            </a:r>
            <a:r>
              <a:rPr lang="de-DE" sz="1400" err="1">
                <a:solidFill>
                  <a:srgbClr val="1A1A1A"/>
                </a:solidFill>
              </a:rPr>
              <a:t>shop</a:t>
            </a:r>
            <a:r>
              <a:rPr lang="de-DE" sz="1400">
                <a:solidFill>
                  <a:srgbClr val="1A1A1A"/>
                </a:solidFill>
              </a:rPr>
              <a:t>" für die teamübergreifende Projektplanung und -durchführung mit einfachen/ leicht verständlichen </a:t>
            </a:r>
            <a:r>
              <a:rPr lang="de-DE" sz="1400" err="1">
                <a:solidFill>
                  <a:srgbClr val="1A1A1A"/>
                </a:solidFill>
              </a:rPr>
              <a:t>How-tos</a:t>
            </a:r>
            <a:r>
              <a:rPr lang="de-DE" sz="1400">
                <a:solidFill>
                  <a:srgbClr val="1A1A1A"/>
                </a:solidFill>
              </a:rPr>
              <a:t>, Tools und Kontaktpunkten zu Innovationsexperten etc. </a:t>
            </a:r>
            <a:endParaRPr lang="de-DE" sz="140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CDD245D-B3C6-4712-B810-0C276CADC3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71490" y="1830091"/>
            <a:ext cx="5074717" cy="362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4987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4955D3-A7AC-4EDD-AB82-588089BC2B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toryboard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EA2D5FF-88DA-4295-813A-3DBC1C309A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884725"/>
            <a:ext cx="11082528" cy="276999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AF0F3F-1C12-4BA9-BD0E-9854B5507E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29460D2-F682-DE43-9EE7-12EF057E6A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2746" y="1231580"/>
            <a:ext cx="8566509" cy="5177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5230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03-21 02:5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E311C4B8-74AD-441A-9B7D-88C6246213BF}" vid="{6F42E404-E13C-48AC-A170-1D4DC8937465}"/>
    </a:ext>
  </a:extLst>
</a:theme>
</file>

<file path=ppt/theme/theme2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neFirm-English (United States)-Wide</Template>
  <TotalTime>0</TotalTime>
  <Words>301</Words>
  <Application>Microsoft Office PowerPoint</Application>
  <PresentationFormat>Breitbild</PresentationFormat>
  <Paragraphs>66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2" baseType="lpstr">
      <vt:lpstr>Arial</vt:lpstr>
      <vt:lpstr>Georgia</vt:lpstr>
      <vt:lpstr>Segoe UI</vt:lpstr>
      <vt:lpstr>Wingdings</vt:lpstr>
      <vt:lpstr>White</vt:lpstr>
      <vt:lpstr>think-cell Folie</vt:lpstr>
      <vt:lpstr>Die Umsetzung</vt:lpstr>
      <vt:lpstr>Teamvorstellung – Gruppe 4</vt:lpstr>
      <vt:lpstr>Konzept Innovation Hub</vt:lpstr>
      <vt:lpstr>Persona</vt:lpstr>
      <vt:lpstr>The Big Idea</vt:lpstr>
      <vt:lpstr>Storyboard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 Firm Template</dc:title>
  <dc:subject/>
  <dc:creator>Lena Muendel</dc:creator>
  <cp:keywords/>
  <dc:description/>
  <cp:lastModifiedBy>Sophie R</cp:lastModifiedBy>
  <cp:revision>1</cp:revision>
  <cp:lastPrinted>2018-10-30T20:37:12Z</cp:lastPrinted>
  <dcterms:created xsi:type="dcterms:W3CDTF">2020-08-05T21:59:24Z</dcterms:created>
  <dcterms:modified xsi:type="dcterms:W3CDTF">2021-06-08T09:14:26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03-21 02:51 PM</vt:lpwstr>
  </property>
  <property fmtid="{D5CDD505-2E9C-101B-9397-08002B2CF9AE}" pid="8" name="TemplateCreated">
    <vt:lpwstr>2019-02-27 01:18 PM</vt:lpwstr>
  </property>
</Properties>
</file>